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9" r:id="rId4"/>
    <p:sldMasterId id="2147483681" r:id="rId5"/>
    <p:sldMasterId id="2147483696" r:id="rId6"/>
  </p:sldMasterIdLst>
  <p:notesMasterIdLst>
    <p:notesMasterId r:id="rId29"/>
  </p:notesMasterIdLst>
  <p:handoutMasterIdLst>
    <p:handoutMasterId r:id="rId30"/>
  </p:handoutMasterIdLst>
  <p:sldIdLst>
    <p:sldId id="2881" r:id="rId7"/>
    <p:sldId id="565" r:id="rId8"/>
    <p:sldId id="561" r:id="rId9"/>
    <p:sldId id="582" r:id="rId10"/>
    <p:sldId id="581" r:id="rId11"/>
    <p:sldId id="546" r:id="rId12"/>
    <p:sldId id="547" r:id="rId13"/>
    <p:sldId id="2882" r:id="rId14"/>
    <p:sldId id="2887" r:id="rId15"/>
    <p:sldId id="551" r:id="rId16"/>
    <p:sldId id="564" r:id="rId17"/>
    <p:sldId id="550" r:id="rId18"/>
    <p:sldId id="552" r:id="rId19"/>
    <p:sldId id="555" r:id="rId20"/>
    <p:sldId id="554" r:id="rId21"/>
    <p:sldId id="553" r:id="rId22"/>
    <p:sldId id="2883" r:id="rId23"/>
    <p:sldId id="569" r:id="rId24"/>
    <p:sldId id="557" r:id="rId25"/>
    <p:sldId id="568" r:id="rId26"/>
    <p:sldId id="559" r:id="rId27"/>
    <p:sldId id="560" r:id="rId28"/>
  </p:sldIdLst>
  <p:sldSz cx="12192000" cy="6858000"/>
  <p:notesSz cx="7104063" cy="10234613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owak Dariusz" initials="ND" lastIdx="1" clrIdx="0">
    <p:extLst>
      <p:ext uri="{19B8F6BF-5375-455C-9EA6-DF929625EA0E}">
        <p15:presenceInfo xmlns:p15="http://schemas.microsoft.com/office/powerpoint/2012/main" userId="S::Dariusz.Nowak@echo.com.pl::9e578734-b158-4481-befb-868697234f29" providerId="AD"/>
      </p:ext>
    </p:extLst>
  </p:cmAuthor>
  <p:cmAuthor id="2" name="Mazur Marta" initials="MM" lastIdx="24" clrIdx="1">
    <p:extLst>
      <p:ext uri="{19B8F6BF-5375-455C-9EA6-DF929625EA0E}">
        <p15:presenceInfo xmlns:p15="http://schemas.microsoft.com/office/powerpoint/2012/main" userId="S::Marta.Mazur@echo.com.pl::696ba51c-661a-4d9b-81e3-1ca13ad2aa4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35459"/>
    <a:srgbClr val="FB2F0D"/>
    <a:srgbClr val="1C9C59"/>
    <a:srgbClr val="6DCFF6"/>
    <a:srgbClr val="A6A7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53F796-E1F2-4DC4-AF46-B658AA7528B3}" v="112" dt="2025-02-03T12:14:14.24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2" autoAdjust="0"/>
    <p:restoredTop sz="84892" autoAdjust="0"/>
  </p:normalViewPr>
  <p:slideViewPr>
    <p:cSldViewPr snapToGrid="0">
      <p:cViewPr varScale="1">
        <p:scale>
          <a:sx n="90" d="100"/>
          <a:sy n="90" d="100"/>
        </p:scale>
        <p:origin x="1272" y="9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7" d="100"/>
          <a:sy n="87" d="100"/>
        </p:scale>
        <p:origin x="-3870" y="-96"/>
      </p:cViewPr>
      <p:guideLst>
        <p:guide orient="horz" pos="3224"/>
        <p:guide pos="223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34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microsoft.com/office/2016/11/relationships/changesInfo" Target="changesInfos/changesInfo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na Rychlik" userId="d6763e5d-f7dc-4809-b9b8-dcfd1e532300" providerId="ADAL" clId="{4E1E98C7-FA91-43FE-8350-0E0D2B74A0E5}"/>
    <pc:docChg chg="custSel addSld delSld modSld">
      <pc:chgData name="Anna Rychlik" userId="d6763e5d-f7dc-4809-b9b8-dcfd1e532300" providerId="ADAL" clId="{4E1E98C7-FA91-43FE-8350-0E0D2B74A0E5}" dt="2024-10-14T11:20:47.283" v="303" actId="20577"/>
      <pc:docMkLst>
        <pc:docMk/>
      </pc:docMkLst>
      <pc:sldChg chg="modSp mod">
        <pc:chgData name="Anna Rychlik" userId="d6763e5d-f7dc-4809-b9b8-dcfd1e532300" providerId="ADAL" clId="{4E1E98C7-FA91-43FE-8350-0E0D2B74A0E5}" dt="2024-10-14T10:59:53.720" v="1" actId="20577"/>
        <pc:sldMkLst>
          <pc:docMk/>
          <pc:sldMk cId="313644379" sldId="546"/>
        </pc:sldMkLst>
      </pc:sldChg>
      <pc:sldChg chg="modSp mod">
        <pc:chgData name="Anna Rychlik" userId="d6763e5d-f7dc-4809-b9b8-dcfd1e532300" providerId="ADAL" clId="{4E1E98C7-FA91-43FE-8350-0E0D2B74A0E5}" dt="2024-10-14T11:00:24.319" v="17" actId="6549"/>
        <pc:sldMkLst>
          <pc:docMk/>
          <pc:sldMk cId="0" sldId="565"/>
        </pc:sldMkLst>
      </pc:sldChg>
      <pc:sldChg chg="new del">
        <pc:chgData name="Anna Rychlik" userId="d6763e5d-f7dc-4809-b9b8-dcfd1e532300" providerId="ADAL" clId="{4E1E98C7-FA91-43FE-8350-0E0D2B74A0E5}" dt="2024-10-14T11:02:52.994" v="21" actId="47"/>
        <pc:sldMkLst>
          <pc:docMk/>
          <pc:sldMk cId="2734460260" sldId="2884"/>
        </pc:sldMkLst>
      </pc:sldChg>
      <pc:sldChg chg="new del">
        <pc:chgData name="Anna Rychlik" userId="d6763e5d-f7dc-4809-b9b8-dcfd1e532300" providerId="ADAL" clId="{4E1E98C7-FA91-43FE-8350-0E0D2B74A0E5}" dt="2024-10-14T11:01:34.265" v="18" actId="47"/>
        <pc:sldMkLst>
          <pc:docMk/>
          <pc:sldMk cId="3094054556" sldId="2884"/>
        </pc:sldMkLst>
      </pc:sldChg>
      <pc:sldChg chg="addSp delSp modSp add mod">
        <pc:chgData name="Anna Rychlik" userId="d6763e5d-f7dc-4809-b9b8-dcfd1e532300" providerId="ADAL" clId="{4E1E98C7-FA91-43FE-8350-0E0D2B74A0E5}" dt="2024-10-14T11:20:47.283" v="303" actId="20577"/>
        <pc:sldMkLst>
          <pc:docMk/>
          <pc:sldMk cId="1326794877" sldId="2887"/>
        </pc:sldMkLst>
      </pc:sldChg>
    </pc:docChg>
  </pc:docChgLst>
  <pc:docChgLst>
    <pc:chgData name="Łukasz Bartnicki" userId="S::lukasz.bartnicki_archicom.pl#ext#@echoinv.onmicrosoft.com::cd1e7638-2516-44d7-b5de-392e07188a20" providerId="AD" clId="Web-{D540F4A5-A531-4340-6EE5-D3A7122B2A30}"/>
    <pc:docChg chg="modSld">
      <pc:chgData name="Łukasz Bartnicki" userId="S::lukasz.bartnicki_archicom.pl#ext#@echoinv.onmicrosoft.com::cd1e7638-2516-44d7-b5de-392e07188a20" providerId="AD" clId="Web-{D540F4A5-A531-4340-6EE5-D3A7122B2A30}" dt="2024-10-21T17:23:59.274" v="118"/>
      <pc:docMkLst>
        <pc:docMk/>
      </pc:docMkLst>
      <pc:sldChg chg="modSp">
        <pc:chgData name="Łukasz Bartnicki" userId="S::lukasz.bartnicki_archicom.pl#ext#@echoinv.onmicrosoft.com::cd1e7638-2516-44d7-b5de-392e07188a20" providerId="AD" clId="Web-{D540F4A5-A531-4340-6EE5-D3A7122B2A30}" dt="2024-10-21T17:15:39.056" v="18"/>
        <pc:sldMkLst>
          <pc:docMk/>
          <pc:sldMk cId="313644379" sldId="546"/>
        </pc:sldMkLst>
      </pc:sldChg>
      <pc:sldChg chg="modSp">
        <pc:chgData name="Łukasz Bartnicki" userId="S::lukasz.bartnicki_archicom.pl#ext#@echoinv.onmicrosoft.com::cd1e7638-2516-44d7-b5de-392e07188a20" providerId="AD" clId="Web-{D540F4A5-A531-4340-6EE5-D3A7122B2A30}" dt="2024-10-21T17:17:01.746" v="52" actId="20577"/>
        <pc:sldMkLst>
          <pc:docMk/>
          <pc:sldMk cId="2078524455" sldId="547"/>
        </pc:sldMkLst>
      </pc:sldChg>
      <pc:sldChg chg="modSp">
        <pc:chgData name="Łukasz Bartnicki" userId="S::lukasz.bartnicki_archicom.pl#ext#@echoinv.onmicrosoft.com::cd1e7638-2516-44d7-b5de-392e07188a20" providerId="AD" clId="Web-{D540F4A5-A531-4340-6EE5-D3A7122B2A30}" dt="2024-10-21T17:17:26.746" v="56"/>
        <pc:sldMkLst>
          <pc:docMk/>
          <pc:sldMk cId="1045706865" sldId="550"/>
        </pc:sldMkLst>
      </pc:sldChg>
      <pc:sldChg chg="modSp">
        <pc:chgData name="Łukasz Bartnicki" userId="S::lukasz.bartnicki_archicom.pl#ext#@echoinv.onmicrosoft.com::cd1e7638-2516-44d7-b5de-392e07188a20" providerId="AD" clId="Web-{D540F4A5-A531-4340-6EE5-D3A7122B2A30}" dt="2024-10-21T17:17:15.902" v="54"/>
        <pc:sldMkLst>
          <pc:docMk/>
          <pc:sldMk cId="2604381336" sldId="551"/>
        </pc:sldMkLst>
      </pc:sldChg>
      <pc:sldChg chg="modSp">
        <pc:chgData name="Łukasz Bartnicki" userId="S::lukasz.bartnicki_archicom.pl#ext#@echoinv.onmicrosoft.com::cd1e7638-2516-44d7-b5de-392e07188a20" providerId="AD" clId="Web-{D540F4A5-A531-4340-6EE5-D3A7122B2A30}" dt="2024-10-21T17:17:33.747" v="57"/>
        <pc:sldMkLst>
          <pc:docMk/>
          <pc:sldMk cId="1642958668" sldId="552"/>
        </pc:sldMkLst>
      </pc:sldChg>
      <pc:sldChg chg="modSp">
        <pc:chgData name="Łukasz Bartnicki" userId="S::lukasz.bartnicki_archicom.pl#ext#@echoinv.onmicrosoft.com::cd1e7638-2516-44d7-b5de-392e07188a20" providerId="AD" clId="Web-{D540F4A5-A531-4340-6EE5-D3A7122B2A30}" dt="2024-10-21T17:18:09.185" v="63"/>
        <pc:sldMkLst>
          <pc:docMk/>
          <pc:sldMk cId="1622436206" sldId="553"/>
        </pc:sldMkLst>
      </pc:sldChg>
      <pc:sldChg chg="modSp">
        <pc:chgData name="Łukasz Bartnicki" userId="S::lukasz.bartnicki_archicom.pl#ext#@echoinv.onmicrosoft.com::cd1e7638-2516-44d7-b5de-392e07188a20" providerId="AD" clId="Web-{D540F4A5-A531-4340-6EE5-D3A7122B2A30}" dt="2024-10-21T17:17:54.482" v="59"/>
        <pc:sldMkLst>
          <pc:docMk/>
          <pc:sldMk cId="3422162950" sldId="554"/>
        </pc:sldMkLst>
      </pc:sldChg>
      <pc:sldChg chg="modSp">
        <pc:chgData name="Łukasz Bartnicki" userId="S::lukasz.bartnicki_archicom.pl#ext#@echoinv.onmicrosoft.com::cd1e7638-2516-44d7-b5de-392e07188a20" providerId="AD" clId="Web-{D540F4A5-A531-4340-6EE5-D3A7122B2A30}" dt="2024-10-21T17:17:46.200" v="58"/>
        <pc:sldMkLst>
          <pc:docMk/>
          <pc:sldMk cId="2010431891" sldId="555"/>
        </pc:sldMkLst>
      </pc:sldChg>
      <pc:sldChg chg="modSp">
        <pc:chgData name="Łukasz Bartnicki" userId="S::lukasz.bartnicki_archicom.pl#ext#@echoinv.onmicrosoft.com::cd1e7638-2516-44d7-b5de-392e07188a20" providerId="AD" clId="Web-{D540F4A5-A531-4340-6EE5-D3A7122B2A30}" dt="2024-10-21T17:21:23.207" v="100"/>
        <pc:sldMkLst>
          <pc:docMk/>
          <pc:sldMk cId="1476855616" sldId="557"/>
        </pc:sldMkLst>
      </pc:sldChg>
      <pc:sldChg chg="modSp">
        <pc:chgData name="Łukasz Bartnicki" userId="S::lukasz.bartnicki_archicom.pl#ext#@echoinv.onmicrosoft.com::cd1e7638-2516-44d7-b5de-392e07188a20" providerId="AD" clId="Web-{D540F4A5-A531-4340-6EE5-D3A7122B2A30}" dt="2024-10-21T17:21:38.238" v="111"/>
        <pc:sldMkLst>
          <pc:docMk/>
          <pc:sldMk cId="4280238782" sldId="559"/>
        </pc:sldMkLst>
      </pc:sldChg>
      <pc:sldChg chg="modSp">
        <pc:chgData name="Łukasz Bartnicki" userId="S::lukasz.bartnicki_archicom.pl#ext#@echoinv.onmicrosoft.com::cd1e7638-2516-44d7-b5de-392e07188a20" providerId="AD" clId="Web-{D540F4A5-A531-4340-6EE5-D3A7122B2A30}" dt="2024-10-21T17:22:21.130" v="115"/>
        <pc:sldMkLst>
          <pc:docMk/>
          <pc:sldMk cId="19349220" sldId="560"/>
        </pc:sldMkLst>
      </pc:sldChg>
      <pc:sldChg chg="modSp">
        <pc:chgData name="Łukasz Bartnicki" userId="S::lukasz.bartnicki_archicom.pl#ext#@echoinv.onmicrosoft.com::cd1e7638-2516-44d7-b5de-392e07188a20" providerId="AD" clId="Web-{D540F4A5-A531-4340-6EE5-D3A7122B2A30}" dt="2024-10-21T17:14:36.522" v="5" actId="20577"/>
        <pc:sldMkLst>
          <pc:docMk/>
          <pc:sldMk cId="0" sldId="561"/>
        </pc:sldMkLst>
      </pc:sldChg>
      <pc:sldChg chg="modSp">
        <pc:chgData name="Łukasz Bartnicki" userId="S::lukasz.bartnicki_archicom.pl#ext#@echoinv.onmicrosoft.com::cd1e7638-2516-44d7-b5de-392e07188a20" providerId="AD" clId="Web-{D540F4A5-A531-4340-6EE5-D3A7122B2A30}" dt="2024-10-21T17:17:20.449" v="55"/>
        <pc:sldMkLst>
          <pc:docMk/>
          <pc:sldMk cId="2604381336" sldId="564"/>
        </pc:sldMkLst>
      </pc:sldChg>
      <pc:sldChg chg="modSp">
        <pc:chgData name="Łukasz Bartnicki" userId="S::lukasz.bartnicki_archicom.pl#ext#@echoinv.onmicrosoft.com::cd1e7638-2516-44d7-b5de-392e07188a20" providerId="AD" clId="Web-{D540F4A5-A531-4340-6EE5-D3A7122B2A30}" dt="2024-10-21T17:14:26.553" v="2" actId="20577"/>
        <pc:sldMkLst>
          <pc:docMk/>
          <pc:sldMk cId="0" sldId="565"/>
        </pc:sldMkLst>
      </pc:sldChg>
      <pc:sldChg chg="modSp">
        <pc:chgData name="Łukasz Bartnicki" userId="S::lukasz.bartnicki_archicom.pl#ext#@echoinv.onmicrosoft.com::cd1e7638-2516-44d7-b5de-392e07188a20" providerId="AD" clId="Web-{D540F4A5-A531-4340-6EE5-D3A7122B2A30}" dt="2024-10-21T17:21:31.379" v="105"/>
        <pc:sldMkLst>
          <pc:docMk/>
          <pc:sldMk cId="1395386405" sldId="568"/>
        </pc:sldMkLst>
      </pc:sldChg>
      <pc:sldChg chg="addSp delSp modSp">
        <pc:chgData name="Łukasz Bartnicki" userId="S::lukasz.bartnicki_archicom.pl#ext#@echoinv.onmicrosoft.com::cd1e7638-2516-44d7-b5de-392e07188a20" providerId="AD" clId="Web-{D540F4A5-A531-4340-6EE5-D3A7122B2A30}" dt="2024-10-21T17:21:04.347" v="97"/>
        <pc:sldMkLst>
          <pc:docMk/>
          <pc:sldMk cId="0" sldId="569"/>
        </pc:sldMkLst>
      </pc:sldChg>
      <pc:sldChg chg="modSp">
        <pc:chgData name="Łukasz Bartnicki" userId="S::lukasz.bartnicki_archicom.pl#ext#@echoinv.onmicrosoft.com::cd1e7638-2516-44d7-b5de-392e07188a20" providerId="AD" clId="Web-{D540F4A5-A531-4340-6EE5-D3A7122B2A30}" dt="2024-10-21T17:15:21.430" v="15" actId="20577"/>
        <pc:sldMkLst>
          <pc:docMk/>
          <pc:sldMk cId="2491931283" sldId="581"/>
        </pc:sldMkLst>
      </pc:sldChg>
      <pc:sldChg chg="modSp">
        <pc:chgData name="Łukasz Bartnicki" userId="S::lukasz.bartnicki_archicom.pl#ext#@echoinv.onmicrosoft.com::cd1e7638-2516-44d7-b5de-392e07188a20" providerId="AD" clId="Web-{D540F4A5-A531-4340-6EE5-D3A7122B2A30}" dt="2024-10-21T17:23:59.274" v="118"/>
        <pc:sldMkLst>
          <pc:docMk/>
          <pc:sldMk cId="829762209" sldId="582"/>
        </pc:sldMkLst>
      </pc:sldChg>
      <pc:sldChg chg="modSp">
        <pc:chgData name="Łukasz Bartnicki" userId="S::lukasz.bartnicki_archicom.pl#ext#@echoinv.onmicrosoft.com::cd1e7638-2516-44d7-b5de-392e07188a20" providerId="AD" clId="Web-{D540F4A5-A531-4340-6EE5-D3A7122B2A30}" dt="2024-10-21T17:22:42.506" v="117"/>
        <pc:sldMkLst>
          <pc:docMk/>
          <pc:sldMk cId="3953656298" sldId="2881"/>
        </pc:sldMkLst>
      </pc:sldChg>
      <pc:sldChg chg="mod modShow">
        <pc:chgData name="Łukasz Bartnicki" userId="S::lukasz.bartnicki_archicom.pl#ext#@echoinv.onmicrosoft.com::cd1e7638-2516-44d7-b5de-392e07188a20" providerId="AD" clId="Web-{D540F4A5-A531-4340-6EE5-D3A7122B2A30}" dt="2024-10-21T17:14:14.381" v="0"/>
        <pc:sldMkLst>
          <pc:docMk/>
          <pc:sldMk cId="2441262337" sldId="2883"/>
        </pc:sldMkLst>
      </pc:sldChg>
      <pc:sldChg chg="modSp">
        <pc:chgData name="Łukasz Bartnicki" userId="S::lukasz.bartnicki_archicom.pl#ext#@echoinv.onmicrosoft.com::cd1e7638-2516-44d7-b5de-392e07188a20" providerId="AD" clId="Web-{D540F4A5-A531-4340-6EE5-D3A7122B2A30}" dt="2024-10-21T17:17:08.933" v="53"/>
        <pc:sldMkLst>
          <pc:docMk/>
          <pc:sldMk cId="1326794877" sldId="2887"/>
        </pc:sldMkLst>
      </pc:sldChg>
    </pc:docChg>
  </pc:docChgLst>
  <pc:docChgLst>
    <pc:chgData name="Nowak Dariusz" userId="9e578734-b158-4481-befb-868697234f29" providerId="ADAL" clId="{0BF3D16E-93AA-4799-9CCE-DFF64080CEFA}"/>
    <pc:docChg chg="undo custSel addSld delSld modSld sldOrd modMainMaster">
      <pc:chgData name="Nowak Dariusz" userId="9e578734-b158-4481-befb-868697234f29" providerId="ADAL" clId="{0BF3D16E-93AA-4799-9CCE-DFF64080CEFA}" dt="2023-02-20T09:05:32.258" v="228" actId="1076"/>
      <pc:docMkLst>
        <pc:docMk/>
      </pc:docMkLst>
      <pc:sldChg chg="modSp">
        <pc:chgData name="Nowak Dariusz" userId="9e578734-b158-4481-befb-868697234f29" providerId="ADAL" clId="{0BF3D16E-93AA-4799-9CCE-DFF64080CEFA}" dt="2023-02-20T08:55:02.494" v="95"/>
        <pc:sldMkLst>
          <pc:docMk/>
          <pc:sldMk cId="313644379" sldId="546"/>
        </pc:sldMkLst>
      </pc:sldChg>
      <pc:sldChg chg="modSp mod">
        <pc:chgData name="Nowak Dariusz" userId="9e578734-b158-4481-befb-868697234f29" providerId="ADAL" clId="{0BF3D16E-93AA-4799-9CCE-DFF64080CEFA}" dt="2023-02-20T09:02:54.369" v="177" actId="20577"/>
        <pc:sldMkLst>
          <pc:docMk/>
          <pc:sldMk cId="2078524455" sldId="547"/>
        </pc:sldMkLst>
      </pc:sldChg>
      <pc:sldChg chg="modSp">
        <pc:chgData name="Nowak Dariusz" userId="9e578734-b158-4481-befb-868697234f29" providerId="ADAL" clId="{0BF3D16E-93AA-4799-9CCE-DFF64080CEFA}" dt="2023-02-20T08:55:02.494" v="95"/>
        <pc:sldMkLst>
          <pc:docMk/>
          <pc:sldMk cId="1045706865" sldId="550"/>
        </pc:sldMkLst>
      </pc:sldChg>
      <pc:sldChg chg="modSp">
        <pc:chgData name="Nowak Dariusz" userId="9e578734-b158-4481-befb-868697234f29" providerId="ADAL" clId="{0BF3D16E-93AA-4799-9CCE-DFF64080CEFA}" dt="2023-02-20T08:55:02.494" v="95"/>
        <pc:sldMkLst>
          <pc:docMk/>
          <pc:sldMk cId="2604381336" sldId="551"/>
        </pc:sldMkLst>
      </pc:sldChg>
      <pc:sldChg chg="modSp">
        <pc:chgData name="Nowak Dariusz" userId="9e578734-b158-4481-befb-868697234f29" providerId="ADAL" clId="{0BF3D16E-93AA-4799-9CCE-DFF64080CEFA}" dt="2023-02-20T08:55:02.494" v="95"/>
        <pc:sldMkLst>
          <pc:docMk/>
          <pc:sldMk cId="1622436206" sldId="553"/>
        </pc:sldMkLst>
      </pc:sldChg>
      <pc:sldChg chg="modSp mod">
        <pc:chgData name="Nowak Dariusz" userId="9e578734-b158-4481-befb-868697234f29" providerId="ADAL" clId="{0BF3D16E-93AA-4799-9CCE-DFF64080CEFA}" dt="2023-02-20T09:03:51.929" v="192" actId="1076"/>
        <pc:sldMkLst>
          <pc:docMk/>
          <pc:sldMk cId="3422162950" sldId="554"/>
        </pc:sldMkLst>
      </pc:sldChg>
      <pc:sldChg chg="modSp">
        <pc:chgData name="Nowak Dariusz" userId="9e578734-b158-4481-befb-868697234f29" providerId="ADAL" clId="{0BF3D16E-93AA-4799-9CCE-DFF64080CEFA}" dt="2023-02-20T08:55:02.494" v="95"/>
        <pc:sldMkLst>
          <pc:docMk/>
          <pc:sldMk cId="1476855616" sldId="557"/>
        </pc:sldMkLst>
      </pc:sldChg>
      <pc:sldChg chg="modSp mod">
        <pc:chgData name="Nowak Dariusz" userId="9e578734-b158-4481-befb-868697234f29" providerId="ADAL" clId="{0BF3D16E-93AA-4799-9CCE-DFF64080CEFA}" dt="2023-02-20T09:03:34.204" v="190" actId="1037"/>
        <pc:sldMkLst>
          <pc:docMk/>
          <pc:sldMk cId="4280238782" sldId="559"/>
        </pc:sldMkLst>
      </pc:sldChg>
      <pc:sldChg chg="modSp mod">
        <pc:chgData name="Nowak Dariusz" userId="9e578734-b158-4481-befb-868697234f29" providerId="ADAL" clId="{0BF3D16E-93AA-4799-9CCE-DFF64080CEFA}" dt="2023-02-20T09:03:24.404" v="180" actId="14100"/>
        <pc:sldMkLst>
          <pc:docMk/>
          <pc:sldMk cId="19349220" sldId="560"/>
        </pc:sldMkLst>
      </pc:sldChg>
      <pc:sldChg chg="modSp mod setBg">
        <pc:chgData name="Nowak Dariusz" userId="9e578734-b158-4481-befb-868697234f29" providerId="ADAL" clId="{0BF3D16E-93AA-4799-9CCE-DFF64080CEFA}" dt="2023-02-20T08:59:36.111" v="129" actId="14100"/>
        <pc:sldMkLst>
          <pc:docMk/>
          <pc:sldMk cId="0" sldId="561"/>
        </pc:sldMkLst>
      </pc:sldChg>
      <pc:sldChg chg="modSp">
        <pc:chgData name="Nowak Dariusz" userId="9e578734-b158-4481-befb-868697234f29" providerId="ADAL" clId="{0BF3D16E-93AA-4799-9CCE-DFF64080CEFA}" dt="2023-02-20T08:55:02.494" v="95"/>
        <pc:sldMkLst>
          <pc:docMk/>
          <pc:sldMk cId="2604381336" sldId="564"/>
        </pc:sldMkLst>
      </pc:sldChg>
      <pc:sldChg chg="modSp mod">
        <pc:chgData name="Nowak Dariusz" userId="9e578734-b158-4481-befb-868697234f29" providerId="ADAL" clId="{0BF3D16E-93AA-4799-9CCE-DFF64080CEFA}" dt="2023-02-20T08:59:46.772" v="130" actId="1076"/>
        <pc:sldMkLst>
          <pc:docMk/>
          <pc:sldMk cId="0" sldId="565"/>
        </pc:sldMkLst>
      </pc:sldChg>
      <pc:sldChg chg="modSp mod">
        <pc:chgData name="Nowak Dariusz" userId="9e578734-b158-4481-befb-868697234f29" providerId="ADAL" clId="{0BF3D16E-93AA-4799-9CCE-DFF64080CEFA}" dt="2023-02-20T09:03:39.676" v="191" actId="14100"/>
        <pc:sldMkLst>
          <pc:docMk/>
          <pc:sldMk cId="1395386405" sldId="568"/>
        </pc:sldMkLst>
      </pc:sldChg>
      <pc:sldChg chg="modSp mod">
        <pc:chgData name="Nowak Dariusz" userId="9e578734-b158-4481-befb-868697234f29" providerId="ADAL" clId="{0BF3D16E-93AA-4799-9CCE-DFF64080CEFA}" dt="2023-02-20T09:05:32.258" v="228" actId="1076"/>
        <pc:sldMkLst>
          <pc:docMk/>
          <pc:sldMk cId="0" sldId="569"/>
        </pc:sldMkLst>
      </pc:sldChg>
      <pc:sldChg chg="modSp mod">
        <pc:chgData name="Nowak Dariusz" userId="9e578734-b158-4481-befb-868697234f29" providerId="ADAL" clId="{0BF3D16E-93AA-4799-9CCE-DFF64080CEFA}" dt="2023-02-20T09:00:02.806" v="133" actId="6549"/>
        <pc:sldMkLst>
          <pc:docMk/>
          <pc:sldMk cId="829762209" sldId="582"/>
        </pc:sldMkLst>
      </pc:sldChg>
      <pc:sldChg chg="del">
        <pc:chgData name="Nowak Dariusz" userId="9e578734-b158-4481-befb-868697234f29" providerId="ADAL" clId="{0BF3D16E-93AA-4799-9CCE-DFF64080CEFA}" dt="2023-02-20T08:54:02.496" v="83" actId="47"/>
        <pc:sldMkLst>
          <pc:docMk/>
          <pc:sldMk cId="2669063295" sldId="585"/>
        </pc:sldMkLst>
      </pc:sldChg>
      <pc:sldChg chg="addSp delSp modSp add mod ord">
        <pc:chgData name="Nowak Dariusz" userId="9e578734-b158-4481-befb-868697234f29" providerId="ADAL" clId="{0BF3D16E-93AA-4799-9CCE-DFF64080CEFA}" dt="2023-02-20T08:57:52.501" v="121" actId="1076"/>
        <pc:sldMkLst>
          <pc:docMk/>
          <pc:sldMk cId="3953656298" sldId="2881"/>
        </pc:sldMkLst>
      </pc:sldChg>
      <pc:sldChg chg="add del">
        <pc:chgData name="Nowak Dariusz" userId="9e578734-b158-4481-befb-868697234f29" providerId="ADAL" clId="{0BF3D16E-93AA-4799-9CCE-DFF64080CEFA}" dt="2023-02-20T08:54:28.292" v="89" actId="47"/>
        <pc:sldMkLst>
          <pc:docMk/>
          <pc:sldMk cId="1969324268" sldId="7977"/>
        </pc:sldMkLst>
      </pc:sldChg>
      <pc:sldMasterChg chg="delSldLayout">
        <pc:chgData name="Nowak Dariusz" userId="9e578734-b158-4481-befb-868697234f29" providerId="ADAL" clId="{0BF3D16E-93AA-4799-9CCE-DFF64080CEFA}" dt="2023-02-20T08:54:49.140" v="94" actId="2696"/>
        <pc:sldMasterMkLst>
          <pc:docMk/>
          <pc:sldMasterMk cId="2173270195" sldId="2147483661"/>
        </pc:sldMasterMkLst>
        <pc:sldLayoutChg chg="del">
          <pc:chgData name="Nowak Dariusz" userId="9e578734-b158-4481-befb-868697234f29" providerId="ADAL" clId="{0BF3D16E-93AA-4799-9CCE-DFF64080CEFA}" dt="2023-02-20T08:54:45.754" v="92" actId="2696"/>
          <pc:sldLayoutMkLst>
            <pc:docMk/>
            <pc:sldMasterMk cId="2173270195" sldId="2147483661"/>
            <pc:sldLayoutMk cId="382729892" sldId="2147483664"/>
          </pc:sldLayoutMkLst>
        </pc:sldLayoutChg>
        <pc:sldLayoutChg chg="del">
          <pc:chgData name="Nowak Dariusz" userId="9e578734-b158-4481-befb-868697234f29" providerId="ADAL" clId="{0BF3D16E-93AA-4799-9CCE-DFF64080CEFA}" dt="2023-02-20T08:54:49.140" v="94" actId="2696"/>
          <pc:sldLayoutMkLst>
            <pc:docMk/>
            <pc:sldMasterMk cId="2173270195" sldId="2147483661"/>
            <pc:sldLayoutMk cId="1013114917" sldId="2147483673"/>
          </pc:sldLayoutMkLst>
        </pc:sldLayoutChg>
        <pc:sldLayoutChg chg="del">
          <pc:chgData name="Nowak Dariusz" userId="9e578734-b158-4481-befb-868697234f29" providerId="ADAL" clId="{0BF3D16E-93AA-4799-9CCE-DFF64080CEFA}" dt="2023-02-20T08:54:46.929" v="93" actId="2696"/>
          <pc:sldLayoutMkLst>
            <pc:docMk/>
            <pc:sldMasterMk cId="2173270195" sldId="2147483661"/>
            <pc:sldLayoutMk cId="382729892" sldId="2147483675"/>
          </pc:sldLayoutMkLst>
        </pc:sldLayoutChg>
      </pc:sldMasterChg>
      <pc:sldMasterChg chg="delSldLayout">
        <pc:chgData name="Nowak Dariusz" userId="9e578734-b158-4481-befb-868697234f29" providerId="ADAL" clId="{0BF3D16E-93AA-4799-9CCE-DFF64080CEFA}" dt="2023-02-20T08:54:28.292" v="89" actId="47"/>
        <pc:sldMasterMkLst>
          <pc:docMk/>
          <pc:sldMasterMk cId="1286674571" sldId="2147483696"/>
        </pc:sldMasterMkLst>
        <pc:sldLayoutChg chg="del">
          <pc:chgData name="Nowak Dariusz" userId="9e578734-b158-4481-befb-868697234f29" providerId="ADAL" clId="{0BF3D16E-93AA-4799-9CCE-DFF64080CEFA}" dt="2023-02-20T08:54:28.292" v="89" actId="47"/>
          <pc:sldLayoutMkLst>
            <pc:docMk/>
            <pc:sldMasterMk cId="1286674571" sldId="2147483696"/>
            <pc:sldLayoutMk cId="867081991" sldId="2147483699"/>
          </pc:sldLayoutMkLst>
        </pc:sldLayoutChg>
      </pc:sldMasterChg>
      <pc:sldMasterChg chg="addSp delSp modSp delSldLayout modSldLayout">
        <pc:chgData name="Nowak Dariusz" userId="9e578734-b158-4481-befb-868697234f29" providerId="ADAL" clId="{0BF3D16E-93AA-4799-9CCE-DFF64080CEFA}" dt="2023-02-20T09:01:12.989" v="142" actId="1076"/>
        <pc:sldMasterMkLst>
          <pc:docMk/>
          <pc:sldMasterMk cId="2229949935" sldId="2147483699"/>
        </pc:sldMasterMkLst>
        <pc:sldLayoutChg chg="del">
          <pc:chgData name="Nowak Dariusz" userId="9e578734-b158-4481-befb-868697234f29" providerId="ADAL" clId="{0BF3D16E-93AA-4799-9CCE-DFF64080CEFA}" dt="2023-02-20T08:56:58.118" v="112" actId="2696"/>
          <pc:sldLayoutMkLst>
            <pc:docMk/>
            <pc:sldMasterMk cId="2229949935" sldId="2147483699"/>
            <pc:sldLayoutMk cId="3788865669" sldId="2147483666"/>
          </pc:sldLayoutMkLst>
        </pc:sldLayoutChg>
        <pc:sldLayoutChg chg="del">
          <pc:chgData name="Nowak Dariusz" userId="9e578734-b158-4481-befb-868697234f29" providerId="ADAL" clId="{0BF3D16E-93AA-4799-9CCE-DFF64080CEFA}" dt="2023-02-20T08:56:56.059" v="111" actId="2696"/>
          <pc:sldLayoutMkLst>
            <pc:docMk/>
            <pc:sldMasterMk cId="2229949935" sldId="2147483699"/>
            <pc:sldLayoutMk cId="672741882" sldId="2147483672"/>
          </pc:sldLayoutMkLst>
        </pc:sldLayoutChg>
        <pc:sldLayoutChg chg="del">
          <pc:chgData name="Nowak Dariusz" userId="9e578734-b158-4481-befb-868697234f29" providerId="ADAL" clId="{0BF3D16E-93AA-4799-9CCE-DFF64080CEFA}" dt="2023-02-20T08:56:58.993" v="113" actId="2696"/>
          <pc:sldLayoutMkLst>
            <pc:docMk/>
            <pc:sldMasterMk cId="2229949935" sldId="2147483699"/>
            <pc:sldLayoutMk cId="2819560621" sldId="2147483676"/>
          </pc:sldLayoutMkLst>
        </pc:sldLayoutChg>
        <pc:sldLayoutChg chg="modSp del">
          <pc:chgData name="Nowak Dariusz" userId="9e578734-b158-4481-befb-868697234f29" providerId="ADAL" clId="{0BF3D16E-93AA-4799-9CCE-DFF64080CEFA}" dt="2023-02-20T09:01:07.048" v="141" actId="2696"/>
          <pc:sldLayoutMkLst>
            <pc:docMk/>
            <pc:sldMasterMk cId="2229949935" sldId="2147483699"/>
            <pc:sldLayoutMk cId="2664368170" sldId="2147483702"/>
          </pc:sldLayoutMkLst>
        </pc:sldLayoutChg>
        <pc:sldLayoutChg chg="del">
          <pc:chgData name="Nowak Dariusz" userId="9e578734-b158-4481-befb-868697234f29" providerId="ADAL" clId="{0BF3D16E-93AA-4799-9CCE-DFF64080CEFA}" dt="2023-02-20T09:00:43.049" v="136" actId="2696"/>
          <pc:sldLayoutMkLst>
            <pc:docMk/>
            <pc:sldMasterMk cId="2229949935" sldId="2147483699"/>
            <pc:sldLayoutMk cId="4206168531" sldId="2147483709"/>
          </pc:sldLayoutMkLst>
        </pc:sldLayoutChg>
        <pc:sldLayoutChg chg="modSp del">
          <pc:chgData name="Nowak Dariusz" userId="9e578734-b158-4481-befb-868697234f29" providerId="ADAL" clId="{0BF3D16E-93AA-4799-9CCE-DFF64080CEFA}" dt="2023-02-20T09:00:41.312" v="135" actId="2696"/>
          <pc:sldLayoutMkLst>
            <pc:docMk/>
            <pc:sldMasterMk cId="2229949935" sldId="2147483699"/>
            <pc:sldLayoutMk cId="1262828775" sldId="2147483710"/>
          </pc:sldLayoutMkLst>
        </pc:sldLayoutChg>
        <pc:sldLayoutChg chg="del">
          <pc:chgData name="Nowak Dariusz" userId="9e578734-b158-4481-befb-868697234f29" providerId="ADAL" clId="{0BF3D16E-93AA-4799-9CCE-DFF64080CEFA}" dt="2023-02-20T09:00:44.717" v="137" actId="2696"/>
          <pc:sldLayoutMkLst>
            <pc:docMk/>
            <pc:sldMasterMk cId="2229949935" sldId="2147483699"/>
            <pc:sldLayoutMk cId="1859009743" sldId="2147483711"/>
          </pc:sldLayoutMkLst>
        </pc:sldLayoutChg>
        <pc:sldLayoutChg chg="del">
          <pc:chgData name="Nowak Dariusz" userId="9e578734-b158-4481-befb-868697234f29" providerId="ADAL" clId="{0BF3D16E-93AA-4799-9CCE-DFF64080CEFA}" dt="2023-02-20T09:00:46.256" v="138" actId="2696"/>
          <pc:sldLayoutMkLst>
            <pc:docMk/>
            <pc:sldMasterMk cId="2229949935" sldId="2147483699"/>
            <pc:sldLayoutMk cId="546151922" sldId="2147483712"/>
          </pc:sldLayoutMkLst>
        </pc:sldLayoutChg>
        <pc:sldLayoutChg chg="del">
          <pc:chgData name="Nowak Dariusz" userId="9e578734-b158-4481-befb-868697234f29" providerId="ADAL" clId="{0BF3D16E-93AA-4799-9CCE-DFF64080CEFA}" dt="2023-02-20T09:00:50.281" v="139" actId="2696"/>
          <pc:sldLayoutMkLst>
            <pc:docMk/>
            <pc:sldMasterMk cId="2229949935" sldId="2147483699"/>
            <pc:sldLayoutMk cId="717918361" sldId="2147483713"/>
          </pc:sldLayoutMkLst>
        </pc:sldLayoutChg>
        <pc:sldLayoutChg chg="delSp modSp mod">
          <pc:chgData name="Nowak Dariusz" userId="9e578734-b158-4481-befb-868697234f29" providerId="ADAL" clId="{0BF3D16E-93AA-4799-9CCE-DFF64080CEFA}" dt="2023-02-20T08:58:56.541" v="124" actId="207"/>
          <pc:sldLayoutMkLst>
            <pc:docMk/>
            <pc:sldMasterMk cId="2229949935" sldId="2147483699"/>
            <pc:sldLayoutMk cId="467180359" sldId="2147483714"/>
          </pc:sldLayoutMkLst>
        </pc:sldLayoutChg>
        <pc:sldLayoutChg chg="delSp modSp mod">
          <pc:chgData name="Nowak Dariusz" userId="9e578734-b158-4481-befb-868697234f29" providerId="ADAL" clId="{0BF3D16E-93AA-4799-9CCE-DFF64080CEFA}" dt="2023-02-20T08:58:41.251" v="123" actId="207"/>
          <pc:sldLayoutMkLst>
            <pc:docMk/>
            <pc:sldMasterMk cId="2229949935" sldId="2147483699"/>
            <pc:sldLayoutMk cId="2205526249" sldId="2147483715"/>
          </pc:sldLayoutMkLst>
        </pc:sldLayoutChg>
        <pc:sldLayoutChg chg="delSp modSp mod">
          <pc:chgData name="Nowak Dariusz" userId="9e578734-b158-4481-befb-868697234f29" providerId="ADAL" clId="{0BF3D16E-93AA-4799-9CCE-DFF64080CEFA}" dt="2023-02-20T08:59:01.790" v="125" actId="207"/>
          <pc:sldLayoutMkLst>
            <pc:docMk/>
            <pc:sldMasterMk cId="2229949935" sldId="2147483699"/>
            <pc:sldLayoutMk cId="3636194524" sldId="2147483716"/>
          </pc:sldLayoutMkLst>
        </pc:sldLayoutChg>
        <pc:sldLayoutChg chg="delSp modSp mod">
          <pc:chgData name="Nowak Dariusz" userId="9e578734-b158-4481-befb-868697234f29" providerId="ADAL" clId="{0BF3D16E-93AA-4799-9CCE-DFF64080CEFA}" dt="2023-02-20T08:59:07.173" v="126" actId="207"/>
          <pc:sldLayoutMkLst>
            <pc:docMk/>
            <pc:sldMasterMk cId="2229949935" sldId="2147483699"/>
            <pc:sldLayoutMk cId="1854897233" sldId="2147483717"/>
          </pc:sldLayoutMkLst>
        </pc:sldLayoutChg>
        <pc:sldLayoutChg chg="delSp modSp mod">
          <pc:chgData name="Nowak Dariusz" userId="9e578734-b158-4481-befb-868697234f29" providerId="ADAL" clId="{0BF3D16E-93AA-4799-9CCE-DFF64080CEFA}" dt="2023-02-20T08:59:10.877" v="127" actId="207"/>
          <pc:sldLayoutMkLst>
            <pc:docMk/>
            <pc:sldMasterMk cId="2229949935" sldId="2147483699"/>
            <pc:sldLayoutMk cId="412077406" sldId="2147483718"/>
          </pc:sldLayoutMkLst>
        </pc:sldLayoutChg>
      </pc:sldMasterChg>
    </pc:docChg>
  </pc:docChgLst>
  <pc:docChgLst>
    <pc:chgData name="Łukasz Bartnicki" userId="f5fa5770-7d4b-4839-bd65-47daadd6c741" providerId="ADAL" clId="{A5B48FE0-8173-4137-9A8F-910B59D1A955}"/>
    <pc:docChg chg="undo custSel addSld modSld sldOrd modNotesMaster modHandout">
      <pc:chgData name="Łukasz Bartnicki" userId="f5fa5770-7d4b-4839-bd65-47daadd6c741" providerId="ADAL" clId="{A5B48FE0-8173-4137-9A8F-910B59D1A955}" dt="2023-11-27T10:19:14.642" v="2220" actId="1076"/>
      <pc:docMkLst>
        <pc:docMk/>
      </pc:docMkLst>
      <pc:sldChg chg="modSp mod">
        <pc:chgData name="Łukasz Bartnicki" userId="f5fa5770-7d4b-4839-bd65-47daadd6c741" providerId="ADAL" clId="{A5B48FE0-8173-4137-9A8F-910B59D1A955}" dt="2023-11-27T08:23:29.524" v="99" actId="20577"/>
        <pc:sldMkLst>
          <pc:docMk/>
          <pc:sldMk cId="2078524455" sldId="547"/>
        </pc:sldMkLst>
      </pc:sldChg>
      <pc:sldChg chg="addSp modSp mod">
        <pc:chgData name="Łukasz Bartnicki" userId="f5fa5770-7d4b-4839-bd65-47daadd6c741" providerId="ADAL" clId="{A5B48FE0-8173-4137-9A8F-910B59D1A955}" dt="2023-11-27T10:19:14.642" v="2220" actId="1076"/>
        <pc:sldMkLst>
          <pc:docMk/>
          <pc:sldMk cId="4280238782" sldId="559"/>
        </pc:sldMkLst>
      </pc:sldChg>
      <pc:sldChg chg="modSp mod">
        <pc:chgData name="Łukasz Bartnicki" userId="f5fa5770-7d4b-4839-bd65-47daadd6c741" providerId="ADAL" clId="{A5B48FE0-8173-4137-9A8F-910B59D1A955}" dt="2023-11-27T08:21:53.078" v="54" actId="1076"/>
        <pc:sldMkLst>
          <pc:docMk/>
          <pc:sldMk cId="0" sldId="561"/>
        </pc:sldMkLst>
      </pc:sldChg>
      <pc:sldChg chg="delSp modSp mod">
        <pc:chgData name="Łukasz Bartnicki" userId="f5fa5770-7d4b-4839-bd65-47daadd6c741" providerId="ADAL" clId="{A5B48FE0-8173-4137-9A8F-910B59D1A955}" dt="2023-11-27T08:21:14.071" v="51" actId="1076"/>
        <pc:sldMkLst>
          <pc:docMk/>
          <pc:sldMk cId="0" sldId="565"/>
        </pc:sldMkLst>
      </pc:sldChg>
      <pc:sldChg chg="addSp delSp modSp mod">
        <pc:chgData name="Łukasz Bartnicki" userId="f5fa5770-7d4b-4839-bd65-47daadd6c741" providerId="ADAL" clId="{A5B48FE0-8173-4137-9A8F-910B59D1A955}" dt="2023-11-27T10:19:08.765" v="2218" actId="1076"/>
        <pc:sldMkLst>
          <pc:docMk/>
          <pc:sldMk cId="1395386405" sldId="568"/>
        </pc:sldMkLst>
      </pc:sldChg>
      <pc:sldChg chg="addSp modSp mod">
        <pc:chgData name="Łukasz Bartnicki" userId="f5fa5770-7d4b-4839-bd65-47daadd6c741" providerId="ADAL" clId="{A5B48FE0-8173-4137-9A8F-910B59D1A955}" dt="2023-11-27T09:45:38.128" v="2211" actId="20577"/>
        <pc:sldMkLst>
          <pc:docMk/>
          <pc:sldMk cId="0" sldId="569"/>
        </pc:sldMkLst>
      </pc:sldChg>
      <pc:sldChg chg="addSp delSp modSp mod">
        <pc:chgData name="Łukasz Bartnicki" userId="f5fa5770-7d4b-4839-bd65-47daadd6c741" providerId="ADAL" clId="{A5B48FE0-8173-4137-9A8F-910B59D1A955}" dt="2023-11-27T08:22:43.991" v="74" actId="1076"/>
        <pc:sldMkLst>
          <pc:docMk/>
          <pc:sldMk cId="3953656298" sldId="2881"/>
        </pc:sldMkLst>
      </pc:sldChg>
      <pc:sldChg chg="addSp delSp modSp new mod modShow">
        <pc:chgData name="Łukasz Bartnicki" userId="f5fa5770-7d4b-4839-bd65-47daadd6c741" providerId="ADAL" clId="{A5B48FE0-8173-4137-9A8F-910B59D1A955}" dt="2023-11-27T08:52:15.215" v="434" actId="14100"/>
        <pc:sldMkLst>
          <pc:docMk/>
          <pc:sldMk cId="1359742152" sldId="2882"/>
        </pc:sldMkLst>
      </pc:sldChg>
      <pc:sldChg chg="addSp delSp modSp new mod ord">
        <pc:chgData name="Łukasz Bartnicki" userId="f5fa5770-7d4b-4839-bd65-47daadd6c741" providerId="ADAL" clId="{A5B48FE0-8173-4137-9A8F-910B59D1A955}" dt="2023-11-27T09:46:06.885" v="2213" actId="20577"/>
        <pc:sldMkLst>
          <pc:docMk/>
          <pc:sldMk cId="2441262337" sldId="2883"/>
        </pc:sldMkLst>
      </pc:sldChg>
    </pc:docChg>
  </pc:docChgLst>
  <pc:docChgLst>
    <pc:chgData name="Łukasz Bartnicki" userId="f5fa5770-7d4b-4839-bd65-47daadd6c741" providerId="ADAL" clId="{13791F43-C6CF-440E-ADE2-B33FAEF4D248}"/>
    <pc:docChg chg="undo custSel modSld">
      <pc:chgData name="Łukasz Bartnicki" userId="f5fa5770-7d4b-4839-bd65-47daadd6c741" providerId="ADAL" clId="{13791F43-C6CF-440E-ADE2-B33FAEF4D248}" dt="2024-04-11T20:32:36.367" v="626" actId="1076"/>
      <pc:docMkLst>
        <pc:docMk/>
      </pc:docMkLst>
      <pc:sldChg chg="modSp mod">
        <pc:chgData name="Łukasz Bartnicki" userId="f5fa5770-7d4b-4839-bd65-47daadd6c741" providerId="ADAL" clId="{13791F43-C6CF-440E-ADE2-B33FAEF4D248}" dt="2024-04-11T20:07:43.877" v="2" actId="20577"/>
        <pc:sldMkLst>
          <pc:docMk/>
          <pc:sldMk cId="0" sldId="561"/>
        </pc:sldMkLst>
      </pc:sldChg>
      <pc:sldChg chg="modSp mod">
        <pc:chgData name="Łukasz Bartnicki" userId="f5fa5770-7d4b-4839-bd65-47daadd6c741" providerId="ADAL" clId="{13791F43-C6CF-440E-ADE2-B33FAEF4D248}" dt="2024-04-11T20:32:36.367" v="626" actId="1076"/>
        <pc:sldMkLst>
          <pc:docMk/>
          <pc:sldMk cId="829762209" sldId="582"/>
        </pc:sldMkLst>
      </pc:sldChg>
    </pc:docChg>
  </pc:docChgLst>
  <pc:docChgLst>
    <pc:chgData name="Przemysław Czaja" userId="0b61f87b-a8d2-4703-b6f4-4ee753ca63fc" providerId="ADAL" clId="{3F53F796-E1F2-4DC4-AF46-B658AA7528B3}"/>
    <pc:docChg chg="modSld">
      <pc:chgData name="Przemysław Czaja" userId="0b61f87b-a8d2-4703-b6f4-4ee753ca63fc" providerId="ADAL" clId="{3F53F796-E1F2-4DC4-AF46-B658AA7528B3}" dt="2025-02-03T12:14:14.247" v="348" actId="207"/>
      <pc:docMkLst>
        <pc:docMk/>
      </pc:docMkLst>
      <pc:sldChg chg="modSp mod">
        <pc:chgData name="Przemysław Czaja" userId="0b61f87b-a8d2-4703-b6f4-4ee753ca63fc" providerId="ADAL" clId="{3F53F796-E1F2-4DC4-AF46-B658AA7528B3}" dt="2025-02-03T11:52:02.447" v="97" actId="20577"/>
        <pc:sldMkLst>
          <pc:docMk/>
          <pc:sldMk cId="1395386405" sldId="568"/>
        </pc:sldMkLst>
        <pc:spChg chg="mod">
          <ac:chgData name="Przemysław Czaja" userId="0b61f87b-a8d2-4703-b6f4-4ee753ca63fc" providerId="ADAL" clId="{3F53F796-E1F2-4DC4-AF46-B658AA7528B3}" dt="2025-02-03T11:52:02.447" v="97" actId="20577"/>
          <ac:spMkLst>
            <pc:docMk/>
            <pc:sldMk cId="1395386405" sldId="568"/>
            <ac:spMk id="6" creationId="{9F892ABE-1CBD-43F6-9BF1-2B6729A0BBC6}"/>
          </ac:spMkLst>
        </pc:spChg>
      </pc:sldChg>
      <pc:sldChg chg="addSp modSp mod">
        <pc:chgData name="Przemysław Czaja" userId="0b61f87b-a8d2-4703-b6f4-4ee753ca63fc" providerId="ADAL" clId="{3F53F796-E1F2-4DC4-AF46-B658AA7528B3}" dt="2025-02-03T12:03:12.357" v="233" actId="1076"/>
        <pc:sldMkLst>
          <pc:docMk/>
          <pc:sldMk cId="0" sldId="569"/>
        </pc:sldMkLst>
        <pc:spChg chg="add mod">
          <ac:chgData name="Przemysław Czaja" userId="0b61f87b-a8d2-4703-b6f4-4ee753ca63fc" providerId="ADAL" clId="{3F53F796-E1F2-4DC4-AF46-B658AA7528B3}" dt="2025-02-03T12:03:12.357" v="233" actId="1076"/>
          <ac:spMkLst>
            <pc:docMk/>
            <pc:sldMk cId="0" sldId="569"/>
            <ac:spMk id="4" creationId="{C64D24B7-5070-3682-82B5-EE0B1215213D}"/>
          </ac:spMkLst>
        </pc:spChg>
        <pc:spChg chg="mod">
          <ac:chgData name="Przemysław Czaja" userId="0b61f87b-a8d2-4703-b6f4-4ee753ca63fc" providerId="ADAL" clId="{3F53F796-E1F2-4DC4-AF46-B658AA7528B3}" dt="2025-02-03T12:01:50.482" v="222" actId="20577"/>
          <ac:spMkLst>
            <pc:docMk/>
            <pc:sldMk cId="0" sldId="569"/>
            <ac:spMk id="8" creationId="{71AA3144-3754-406F-A227-6A726A1EF061}"/>
          </ac:spMkLst>
        </pc:spChg>
        <pc:spChg chg="mod">
          <ac:chgData name="Przemysław Czaja" userId="0b61f87b-a8d2-4703-b6f4-4ee753ca63fc" providerId="ADAL" clId="{3F53F796-E1F2-4DC4-AF46-B658AA7528B3}" dt="2025-02-03T12:03:08.728" v="232" actId="1076"/>
          <ac:spMkLst>
            <pc:docMk/>
            <pc:sldMk cId="0" sldId="569"/>
            <ac:spMk id="9" creationId="{3F563820-ACF4-72F9-0AA9-DBC449AD7D9C}"/>
          </ac:spMkLst>
        </pc:spChg>
        <pc:spChg chg="mod">
          <ac:chgData name="Przemysław Czaja" userId="0b61f87b-a8d2-4703-b6f4-4ee753ca63fc" providerId="ADAL" clId="{3F53F796-E1F2-4DC4-AF46-B658AA7528B3}" dt="2025-02-03T12:00:27.050" v="144" actId="1076"/>
          <ac:spMkLst>
            <pc:docMk/>
            <pc:sldMk cId="0" sldId="569"/>
            <ac:spMk id="10" creationId="{71AA3144-3754-406F-A227-6A726A1EF061}"/>
          </ac:spMkLst>
        </pc:spChg>
        <pc:spChg chg="mod">
          <ac:chgData name="Przemysław Czaja" userId="0b61f87b-a8d2-4703-b6f4-4ee753ca63fc" providerId="ADAL" clId="{3F53F796-E1F2-4DC4-AF46-B658AA7528B3}" dt="2025-02-03T12:00:03.238" v="141" actId="1076"/>
          <ac:spMkLst>
            <pc:docMk/>
            <pc:sldMk cId="0" sldId="569"/>
            <ac:spMk id="11" creationId="{ACD936AF-F889-73A8-4275-164D46CED90D}"/>
          </ac:spMkLst>
        </pc:spChg>
        <pc:spChg chg="add mod">
          <ac:chgData name="Przemysław Czaja" userId="0b61f87b-a8d2-4703-b6f4-4ee753ca63fc" providerId="ADAL" clId="{3F53F796-E1F2-4DC4-AF46-B658AA7528B3}" dt="2025-02-03T12:02:37.310" v="230" actId="1076"/>
          <ac:spMkLst>
            <pc:docMk/>
            <pc:sldMk cId="0" sldId="569"/>
            <ac:spMk id="12" creationId="{EA5632DF-D6DA-C954-2DCF-5E222C5A9CE3}"/>
          </ac:spMkLst>
        </pc:spChg>
        <pc:spChg chg="mod">
          <ac:chgData name="Przemysław Czaja" userId="0b61f87b-a8d2-4703-b6f4-4ee753ca63fc" providerId="ADAL" clId="{3F53F796-E1F2-4DC4-AF46-B658AA7528B3}" dt="2025-02-03T12:00:27.050" v="144" actId="1076"/>
          <ac:spMkLst>
            <pc:docMk/>
            <pc:sldMk cId="0" sldId="569"/>
            <ac:spMk id="13" creationId="{00000000-0000-0000-0000-000000000000}"/>
          </ac:spMkLst>
        </pc:spChg>
        <pc:spChg chg="mod">
          <ac:chgData name="Przemysław Czaja" userId="0b61f87b-a8d2-4703-b6f4-4ee753ca63fc" providerId="ADAL" clId="{3F53F796-E1F2-4DC4-AF46-B658AA7528B3}" dt="2025-02-03T12:00:27.050" v="144" actId="1076"/>
          <ac:spMkLst>
            <pc:docMk/>
            <pc:sldMk cId="0" sldId="569"/>
            <ac:spMk id="14" creationId="{00000000-0000-0000-0000-000000000000}"/>
          </ac:spMkLst>
        </pc:spChg>
        <pc:spChg chg="mod">
          <ac:chgData name="Przemysław Czaja" userId="0b61f87b-a8d2-4703-b6f4-4ee753ca63fc" providerId="ADAL" clId="{3F53F796-E1F2-4DC4-AF46-B658AA7528B3}" dt="2025-02-03T12:00:27.050" v="144" actId="1076"/>
          <ac:spMkLst>
            <pc:docMk/>
            <pc:sldMk cId="0" sldId="569"/>
            <ac:spMk id="15" creationId="{00000000-0000-0000-0000-000000000000}"/>
          </ac:spMkLst>
        </pc:spChg>
        <pc:spChg chg="mod">
          <ac:chgData name="Przemysław Czaja" userId="0b61f87b-a8d2-4703-b6f4-4ee753ca63fc" providerId="ADAL" clId="{3F53F796-E1F2-4DC4-AF46-B658AA7528B3}" dt="2025-02-03T11:57:31.743" v="134" actId="1076"/>
          <ac:spMkLst>
            <pc:docMk/>
            <pc:sldMk cId="0" sldId="569"/>
            <ac:spMk id="16" creationId="{C48BD05E-BA9A-E55A-B634-864E6122D341}"/>
          </ac:spMkLst>
        </pc:spChg>
        <pc:spChg chg="mod">
          <ac:chgData name="Przemysław Czaja" userId="0b61f87b-a8d2-4703-b6f4-4ee753ca63fc" providerId="ADAL" clId="{3F53F796-E1F2-4DC4-AF46-B658AA7528B3}" dt="2025-02-03T12:00:27.050" v="144" actId="1076"/>
          <ac:spMkLst>
            <pc:docMk/>
            <pc:sldMk cId="0" sldId="569"/>
            <ac:spMk id="19" creationId="{00000000-0000-0000-0000-000000000000}"/>
          </ac:spMkLst>
        </pc:spChg>
        <pc:spChg chg="mod">
          <ac:chgData name="Przemysław Czaja" userId="0b61f87b-a8d2-4703-b6f4-4ee753ca63fc" providerId="ADAL" clId="{3F53F796-E1F2-4DC4-AF46-B658AA7528B3}" dt="2025-02-03T12:00:27.050" v="144" actId="1076"/>
          <ac:spMkLst>
            <pc:docMk/>
            <pc:sldMk cId="0" sldId="569"/>
            <ac:spMk id="20" creationId="{00000000-0000-0000-0000-000000000000}"/>
          </ac:spMkLst>
        </pc:spChg>
        <pc:spChg chg="mod">
          <ac:chgData name="Przemysław Czaja" userId="0b61f87b-a8d2-4703-b6f4-4ee753ca63fc" providerId="ADAL" clId="{3F53F796-E1F2-4DC4-AF46-B658AA7528B3}" dt="2025-02-03T12:00:27.050" v="144" actId="1076"/>
          <ac:spMkLst>
            <pc:docMk/>
            <pc:sldMk cId="0" sldId="569"/>
            <ac:spMk id="21" creationId="{00000000-0000-0000-0000-000000000000}"/>
          </ac:spMkLst>
        </pc:spChg>
        <pc:spChg chg="mod">
          <ac:chgData name="Przemysław Czaja" userId="0b61f87b-a8d2-4703-b6f4-4ee753ca63fc" providerId="ADAL" clId="{3F53F796-E1F2-4DC4-AF46-B658AA7528B3}" dt="2025-02-03T12:00:27.050" v="144" actId="1076"/>
          <ac:spMkLst>
            <pc:docMk/>
            <pc:sldMk cId="0" sldId="569"/>
            <ac:spMk id="25" creationId="{00000000-0000-0000-0000-000000000000}"/>
          </ac:spMkLst>
        </pc:spChg>
        <pc:spChg chg="mod">
          <ac:chgData name="Przemysław Czaja" userId="0b61f87b-a8d2-4703-b6f4-4ee753ca63fc" providerId="ADAL" clId="{3F53F796-E1F2-4DC4-AF46-B658AA7528B3}" dt="2025-02-03T12:03:03.637" v="231" actId="1076"/>
          <ac:spMkLst>
            <pc:docMk/>
            <pc:sldMk cId="0" sldId="569"/>
            <ac:spMk id="33" creationId="{00000000-0000-0000-0000-000000000000}"/>
          </ac:spMkLst>
        </pc:spChg>
      </pc:sldChg>
      <pc:sldChg chg="addSp modSp mod">
        <pc:chgData name="Przemysław Czaja" userId="0b61f87b-a8d2-4703-b6f4-4ee753ca63fc" providerId="ADAL" clId="{3F53F796-E1F2-4DC4-AF46-B658AA7528B3}" dt="2025-02-03T11:50:15.210" v="70" actId="1076"/>
        <pc:sldMkLst>
          <pc:docMk/>
          <pc:sldMk cId="3953656298" sldId="2881"/>
        </pc:sldMkLst>
        <pc:spChg chg="add mod">
          <ac:chgData name="Przemysław Czaja" userId="0b61f87b-a8d2-4703-b6f4-4ee753ca63fc" providerId="ADAL" clId="{3F53F796-E1F2-4DC4-AF46-B658AA7528B3}" dt="2025-02-03T11:47:56.639" v="29" actId="207"/>
          <ac:spMkLst>
            <pc:docMk/>
            <pc:sldMk cId="3953656298" sldId="2881"/>
            <ac:spMk id="3" creationId="{F853936F-44AE-1854-80F8-71FD79DC0E73}"/>
          </ac:spMkLst>
        </pc:spChg>
        <pc:spChg chg="add mod">
          <ac:chgData name="Przemysław Czaja" userId="0b61f87b-a8d2-4703-b6f4-4ee753ca63fc" providerId="ADAL" clId="{3F53F796-E1F2-4DC4-AF46-B658AA7528B3}" dt="2025-02-03T11:50:15.210" v="70" actId="1076"/>
          <ac:spMkLst>
            <pc:docMk/>
            <pc:sldMk cId="3953656298" sldId="2881"/>
            <ac:spMk id="4" creationId="{94876246-7C62-9305-B6AA-05C5289333EA}"/>
          </ac:spMkLst>
        </pc:spChg>
      </pc:sldChg>
      <pc:sldChg chg="addSp modSp mod">
        <pc:chgData name="Przemysław Czaja" userId="0b61f87b-a8d2-4703-b6f4-4ee753ca63fc" providerId="ADAL" clId="{3F53F796-E1F2-4DC4-AF46-B658AA7528B3}" dt="2025-02-03T12:14:14.247" v="348" actId="207"/>
        <pc:sldMkLst>
          <pc:docMk/>
          <pc:sldMk cId="2441262337" sldId="2883"/>
        </pc:sldMkLst>
        <pc:spChg chg="add mod">
          <ac:chgData name="Przemysław Czaja" userId="0b61f87b-a8d2-4703-b6f4-4ee753ca63fc" providerId="ADAL" clId="{3F53F796-E1F2-4DC4-AF46-B658AA7528B3}" dt="2025-02-03T12:11:15.820" v="338" actId="1076"/>
          <ac:spMkLst>
            <pc:docMk/>
            <pc:sldMk cId="2441262337" sldId="2883"/>
            <ac:spMk id="4" creationId="{A53ED4B3-E6F8-ED15-FA89-5EA0179D691A}"/>
          </ac:spMkLst>
        </pc:spChg>
        <pc:spChg chg="mod">
          <ac:chgData name="Przemysław Czaja" userId="0b61f87b-a8d2-4703-b6f4-4ee753ca63fc" providerId="ADAL" clId="{3F53F796-E1F2-4DC4-AF46-B658AA7528B3}" dt="2025-02-03T12:12:47.173" v="347" actId="1076"/>
          <ac:spMkLst>
            <pc:docMk/>
            <pc:sldMk cId="2441262337" sldId="2883"/>
            <ac:spMk id="12" creationId="{7366FF9D-F65D-623C-8178-22937E24944C}"/>
          </ac:spMkLst>
        </pc:spChg>
        <pc:spChg chg="mod">
          <ac:chgData name="Przemysław Czaja" userId="0b61f87b-a8d2-4703-b6f4-4ee753ca63fc" providerId="ADAL" clId="{3F53F796-E1F2-4DC4-AF46-B658AA7528B3}" dt="2025-02-03T12:10:51.127" v="335" actId="1076"/>
          <ac:spMkLst>
            <pc:docMk/>
            <pc:sldMk cId="2441262337" sldId="2883"/>
            <ac:spMk id="23" creationId="{0A83D5DB-5D16-6B0F-BB14-C999C406AB6A}"/>
          </ac:spMkLst>
        </pc:spChg>
        <pc:spChg chg="mod">
          <ac:chgData name="Przemysław Czaja" userId="0b61f87b-a8d2-4703-b6f4-4ee753ca63fc" providerId="ADAL" clId="{3F53F796-E1F2-4DC4-AF46-B658AA7528B3}" dt="2025-02-03T12:10:02.474" v="333" actId="1076"/>
          <ac:spMkLst>
            <pc:docMk/>
            <pc:sldMk cId="2441262337" sldId="2883"/>
            <ac:spMk id="24" creationId="{E686CC80-DE31-7B77-CC12-F63A09BB0CBB}"/>
          </ac:spMkLst>
        </pc:spChg>
        <pc:spChg chg="mod">
          <ac:chgData name="Przemysław Czaja" userId="0b61f87b-a8d2-4703-b6f4-4ee753ca63fc" providerId="ADAL" clId="{3F53F796-E1F2-4DC4-AF46-B658AA7528B3}" dt="2025-02-03T12:09:54.778" v="332" actId="1076"/>
          <ac:spMkLst>
            <pc:docMk/>
            <pc:sldMk cId="2441262337" sldId="2883"/>
            <ac:spMk id="25" creationId="{12C1647A-2922-C82C-0DFF-3E383E7B1135}"/>
          </ac:spMkLst>
        </pc:spChg>
        <pc:graphicFrameChg chg="mod">
          <ac:chgData name="Przemysław Czaja" userId="0b61f87b-a8d2-4703-b6f4-4ee753ca63fc" providerId="ADAL" clId="{3F53F796-E1F2-4DC4-AF46-B658AA7528B3}" dt="2025-02-03T12:14:14.247" v="348" actId="207"/>
          <ac:graphicFrameMkLst>
            <pc:docMk/>
            <pc:sldMk cId="2441262337" sldId="2883"/>
            <ac:graphicFrameMk id="2" creationId="{93137F55-34E6-5847-46F4-ABA26CC89B1B}"/>
          </ac:graphicFrameMkLst>
        </pc:graphicFrameChg>
        <pc:cxnChg chg="add mod">
          <ac:chgData name="Przemysław Czaja" userId="0b61f87b-a8d2-4703-b6f4-4ee753ca63fc" providerId="ADAL" clId="{3F53F796-E1F2-4DC4-AF46-B658AA7528B3}" dt="2025-02-03T12:12:40.824" v="346" actId="1076"/>
          <ac:cxnSpMkLst>
            <pc:docMk/>
            <pc:sldMk cId="2441262337" sldId="2883"/>
            <ac:cxnSpMk id="5" creationId="{F989E6A8-C642-88D6-72C2-F1B2A07F9FE6}"/>
          </ac:cxnSpMkLst>
        </pc:cxnChg>
        <pc:cxnChg chg="mod">
          <ac:chgData name="Przemysław Czaja" userId="0b61f87b-a8d2-4703-b6f4-4ee753ca63fc" providerId="ADAL" clId="{3F53F796-E1F2-4DC4-AF46-B658AA7528B3}" dt="2025-02-03T12:12:28.565" v="345" actId="14100"/>
          <ac:cxnSpMkLst>
            <pc:docMk/>
            <pc:sldMk cId="2441262337" sldId="2883"/>
            <ac:cxnSpMk id="14" creationId="{0E7BF14A-5576-A51E-000B-CA80BFEA6EC4}"/>
          </ac:cxnSpMkLst>
        </pc:cxnChg>
        <pc:cxnChg chg="mod">
          <ac:chgData name="Przemysław Czaja" userId="0b61f87b-a8d2-4703-b6f4-4ee753ca63fc" providerId="ADAL" clId="{3F53F796-E1F2-4DC4-AF46-B658AA7528B3}" dt="2025-02-03T12:12:13.007" v="344" actId="14100"/>
          <ac:cxnSpMkLst>
            <pc:docMk/>
            <pc:sldMk cId="2441262337" sldId="2883"/>
            <ac:cxnSpMk id="15" creationId="{1AA491B8-4A31-A0B0-35F5-1B5C2800EB9C}"/>
          </ac:cxnSpMkLst>
        </pc:cxnChg>
        <pc:cxnChg chg="mod">
          <ac:chgData name="Przemysław Czaja" userId="0b61f87b-a8d2-4703-b6f4-4ee753ca63fc" providerId="ADAL" clId="{3F53F796-E1F2-4DC4-AF46-B658AA7528B3}" dt="2025-02-03T12:09:06.156" v="327" actId="1076"/>
          <ac:cxnSpMkLst>
            <pc:docMk/>
            <pc:sldMk cId="2441262337" sldId="2883"/>
            <ac:cxnSpMk id="17" creationId="{A1521C31-76B8-0439-7007-332E303AB188}"/>
          </ac:cxnSpMkLst>
        </pc:cxnChg>
        <pc:cxnChg chg="mod">
          <ac:chgData name="Przemysław Czaja" userId="0b61f87b-a8d2-4703-b6f4-4ee753ca63fc" providerId="ADAL" clId="{3F53F796-E1F2-4DC4-AF46-B658AA7528B3}" dt="2025-02-03T12:12:07.788" v="343" actId="14100"/>
          <ac:cxnSpMkLst>
            <pc:docMk/>
            <pc:sldMk cId="2441262337" sldId="2883"/>
            <ac:cxnSpMk id="21" creationId="{9252E6C6-E3B4-3138-375E-8F8E4DF15872}"/>
          </ac:cxnSpMkLst>
        </pc:cxn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293CED1-B5A9-49D2-AFAD-C024301F8369}" type="doc">
      <dgm:prSet loTypeId="urn:microsoft.com/office/officeart/2008/layout/NameandTitleOrganizationalChart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l-PL"/>
        </a:p>
      </dgm:t>
    </dgm:pt>
    <dgm:pt modelId="{7CFAA508-EAB1-4325-A73D-2ACEA179E4B4}">
      <dgm:prSet phldrT="[Tekst]" custT="1"/>
      <dgm:spPr>
        <a:solidFill>
          <a:srgbClr val="A6A7A8"/>
        </a:solidFill>
      </dgm:spPr>
      <dgm:t>
        <a:bodyPr/>
        <a:lstStyle/>
        <a:p>
          <a:r>
            <a:rPr lang="pl-PL" sz="1400" dirty="0">
              <a:solidFill>
                <a:srgbClr val="000000"/>
              </a:solidFill>
              <a:latin typeface="Arial"/>
              <a:cs typeface="Arial"/>
            </a:rPr>
            <a:t>SPM/PM</a:t>
          </a:r>
        </a:p>
      </dgm:t>
    </dgm:pt>
    <dgm:pt modelId="{96374F46-6B39-4852-B057-3CEEAE2716E9}" type="parTrans" cxnId="{4488FE3B-97CE-4549-AA66-F724068BFC10}">
      <dgm:prSet/>
      <dgm:spPr/>
      <dgm:t>
        <a:bodyPr/>
        <a:lstStyle/>
        <a:p>
          <a:endParaRPr lang="pl-PL"/>
        </a:p>
      </dgm:t>
    </dgm:pt>
    <dgm:pt modelId="{295072D3-B73D-4870-A1EC-E7C4870430E8}" type="sibTrans" cxnId="{4488FE3B-97CE-4549-AA66-F724068BFC10}">
      <dgm:prSet custT="1"/>
      <dgm:spPr/>
      <dgm:t>
        <a:bodyPr/>
        <a:lstStyle/>
        <a:p>
          <a:r>
            <a:rPr lang="pl-PL" sz="1200" dirty="0">
              <a:latin typeface="Arial" pitchFamily="34" charset="0"/>
              <a:cs typeface="Arial" pitchFamily="34" charset="0"/>
            </a:rPr>
            <a:t>zdjęcie</a:t>
          </a:r>
        </a:p>
      </dgm:t>
    </dgm:pt>
    <dgm:pt modelId="{E6402D96-30AC-4643-95AC-1A8636F34601}" type="asst">
      <dgm:prSet phldrT="[Tekst]" custT="1"/>
      <dgm:spPr>
        <a:solidFill>
          <a:srgbClr val="D9DF20"/>
        </a:solidFill>
      </dgm:spPr>
      <dgm:t>
        <a:bodyPr/>
        <a:lstStyle/>
        <a:p>
          <a:r>
            <a:rPr lang="pl-PL" sz="14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Dyrektor Budowy</a:t>
          </a:r>
        </a:p>
      </dgm:t>
    </dgm:pt>
    <dgm:pt modelId="{21B27BD8-5A8D-4204-9F21-1A586F448231}" type="parTrans" cxnId="{7BBF25B4-5A43-4B3A-B7F0-0B063D1E310D}">
      <dgm:prSet/>
      <dgm:spPr>
        <a:ln>
          <a:solidFill>
            <a:srgbClr val="D9DF20"/>
          </a:solidFill>
        </a:ln>
      </dgm:spPr>
      <dgm:t>
        <a:bodyPr/>
        <a:lstStyle/>
        <a:p>
          <a:endParaRPr lang="pl-PL"/>
        </a:p>
      </dgm:t>
    </dgm:pt>
    <dgm:pt modelId="{320D2D85-2FBC-4DC8-9DFF-E54AA722C513}" type="sibTrans" cxnId="{7BBF25B4-5A43-4B3A-B7F0-0B063D1E310D}">
      <dgm:prSet custT="1"/>
      <dgm:spPr/>
      <dgm:t>
        <a:bodyPr/>
        <a:lstStyle/>
        <a:p>
          <a:r>
            <a:rPr lang="pl-PL" sz="1200" dirty="0">
              <a:latin typeface="Arial" pitchFamily="34" charset="0"/>
              <a:cs typeface="Arial" pitchFamily="34" charset="0"/>
            </a:rPr>
            <a:t>zdjęcie</a:t>
          </a:r>
        </a:p>
      </dgm:t>
    </dgm:pt>
    <dgm:pt modelId="{B1E9E9F8-E08E-4D98-83AA-B672B17D0383}">
      <dgm:prSet phldrT="[Tekst]" custT="1"/>
      <dgm:spPr>
        <a:solidFill>
          <a:srgbClr val="6DCFF6"/>
        </a:solidFill>
      </dgm:spPr>
      <dgm:t>
        <a:bodyPr/>
        <a:lstStyle/>
        <a:p>
          <a:r>
            <a:rPr lang="pl-PL" sz="14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Kierownik Robót </a:t>
          </a:r>
        </a:p>
      </dgm:t>
    </dgm:pt>
    <dgm:pt modelId="{F7AA5CCE-FE0D-41BA-AC35-98E8D0C2653E}" type="parTrans" cxnId="{A49ACBAD-6EAA-4475-86E2-719F3DBE4271}">
      <dgm:prSet/>
      <dgm:spPr>
        <a:ln>
          <a:solidFill>
            <a:srgbClr val="6DCFF6"/>
          </a:solidFill>
        </a:ln>
      </dgm:spPr>
      <dgm:t>
        <a:bodyPr/>
        <a:lstStyle/>
        <a:p>
          <a:endParaRPr lang="pl-PL"/>
        </a:p>
      </dgm:t>
    </dgm:pt>
    <dgm:pt modelId="{5FFC95E6-A19C-46C1-BC16-4BEA2EAF7EBC}" type="sibTrans" cxnId="{A49ACBAD-6EAA-4475-86E2-719F3DBE4271}">
      <dgm:prSet custT="1"/>
      <dgm:spPr/>
      <dgm:t>
        <a:bodyPr/>
        <a:lstStyle/>
        <a:p>
          <a:r>
            <a:rPr lang="pl-PL" sz="1200" dirty="0">
              <a:latin typeface="Arial" pitchFamily="34" charset="0"/>
              <a:cs typeface="Arial" pitchFamily="34" charset="0"/>
            </a:rPr>
            <a:t>zdjęcie</a:t>
          </a:r>
        </a:p>
      </dgm:t>
    </dgm:pt>
    <dgm:pt modelId="{90C415DF-4292-4557-8538-AFF9795EFB0E}">
      <dgm:prSet phldrT="[Tekst]" custT="1"/>
      <dgm:spPr>
        <a:solidFill>
          <a:srgbClr val="6DCFF6"/>
        </a:solidFill>
      </dgm:spPr>
      <dgm:t>
        <a:bodyPr/>
        <a:lstStyle/>
        <a:p>
          <a:r>
            <a:rPr lang="pl-PL" sz="14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Koordynator BHP i OŚ</a:t>
          </a:r>
        </a:p>
      </dgm:t>
    </dgm:pt>
    <dgm:pt modelId="{C5AADB7D-F896-41D8-86E0-11E4946D67E5}" type="parTrans" cxnId="{29B0CF1B-5E82-47C9-A92C-8ECB95E3FEEC}">
      <dgm:prSet/>
      <dgm:spPr>
        <a:ln>
          <a:solidFill>
            <a:srgbClr val="6DCFF6"/>
          </a:solidFill>
        </a:ln>
      </dgm:spPr>
      <dgm:t>
        <a:bodyPr/>
        <a:lstStyle/>
        <a:p>
          <a:endParaRPr lang="pl-PL"/>
        </a:p>
      </dgm:t>
    </dgm:pt>
    <dgm:pt modelId="{7D1489F8-0EAA-48FC-A52D-DB0518EDFCB2}" type="sibTrans" cxnId="{29B0CF1B-5E82-47C9-A92C-8ECB95E3FEEC}">
      <dgm:prSet custT="1"/>
      <dgm:spPr/>
      <dgm:t>
        <a:bodyPr/>
        <a:lstStyle/>
        <a:p>
          <a:r>
            <a:rPr lang="pl-PL" sz="1200" dirty="0">
              <a:latin typeface="Arial" pitchFamily="34" charset="0"/>
              <a:cs typeface="Arial" pitchFamily="34" charset="0"/>
            </a:rPr>
            <a:t>zdjęcie</a:t>
          </a:r>
        </a:p>
      </dgm:t>
    </dgm:pt>
    <dgm:pt modelId="{DF497D28-526E-476D-AFB2-D818CA22B577}">
      <dgm:prSet phldrT="[Tekst]" custT="1"/>
      <dgm:spPr>
        <a:solidFill>
          <a:srgbClr val="6DCFF6"/>
        </a:solidFill>
      </dgm:spPr>
      <dgm:t>
        <a:bodyPr/>
        <a:lstStyle/>
        <a:p>
          <a:r>
            <a:rPr lang="pl-PL" sz="14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…..</a:t>
          </a:r>
        </a:p>
      </dgm:t>
    </dgm:pt>
    <dgm:pt modelId="{2AFA5994-6E6E-4251-9CDA-9456BCA03E1C}" type="parTrans" cxnId="{817B7B7E-4259-4D8D-813C-994473669FA3}">
      <dgm:prSet/>
      <dgm:spPr>
        <a:ln>
          <a:solidFill>
            <a:srgbClr val="6DCFF6"/>
          </a:solidFill>
        </a:ln>
      </dgm:spPr>
      <dgm:t>
        <a:bodyPr/>
        <a:lstStyle/>
        <a:p>
          <a:endParaRPr lang="pl-PL"/>
        </a:p>
      </dgm:t>
    </dgm:pt>
    <dgm:pt modelId="{FFB0B488-E094-44D2-9870-2DB31BF9AE44}" type="sibTrans" cxnId="{817B7B7E-4259-4D8D-813C-994473669FA3}">
      <dgm:prSet/>
      <dgm:spPr/>
      <dgm:t>
        <a:bodyPr/>
        <a:lstStyle/>
        <a:p>
          <a:endParaRPr lang="pl-PL"/>
        </a:p>
      </dgm:t>
    </dgm:pt>
    <dgm:pt modelId="{C3402E96-69AF-4B62-82D8-4D00F48AE963}" type="asst">
      <dgm:prSet custT="1"/>
      <dgm:spPr>
        <a:solidFill>
          <a:srgbClr val="D9DF20"/>
        </a:solidFill>
      </dgm:spPr>
      <dgm:t>
        <a:bodyPr/>
        <a:lstStyle/>
        <a:p>
          <a:r>
            <a:rPr lang="pl-PL" sz="14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Kierownik Budowy</a:t>
          </a:r>
        </a:p>
      </dgm:t>
    </dgm:pt>
    <dgm:pt modelId="{F666D108-2C85-42D2-9733-CE37E2023762}" type="parTrans" cxnId="{613C9206-E0A6-407B-A5AB-CD9E3B8DE877}">
      <dgm:prSet/>
      <dgm:spPr>
        <a:ln>
          <a:solidFill>
            <a:srgbClr val="D9DF20"/>
          </a:solidFill>
        </a:ln>
      </dgm:spPr>
      <dgm:t>
        <a:bodyPr/>
        <a:lstStyle/>
        <a:p>
          <a:endParaRPr lang="pl-PL"/>
        </a:p>
      </dgm:t>
    </dgm:pt>
    <dgm:pt modelId="{F3C475B9-D972-4036-8737-92C48907AA93}" type="sibTrans" cxnId="{613C9206-E0A6-407B-A5AB-CD9E3B8DE877}">
      <dgm:prSet custT="1"/>
      <dgm:spPr/>
      <dgm:t>
        <a:bodyPr/>
        <a:lstStyle/>
        <a:p>
          <a:r>
            <a:rPr lang="pl-PL" sz="1200" dirty="0">
              <a:latin typeface="Arial" pitchFamily="34" charset="0"/>
              <a:cs typeface="Arial" pitchFamily="34" charset="0"/>
            </a:rPr>
            <a:t>zdjęcie</a:t>
          </a:r>
        </a:p>
      </dgm:t>
    </dgm:pt>
    <dgm:pt modelId="{F57C80C3-31BA-4EBF-94B0-39D3496463D9}">
      <dgm:prSet/>
      <dgm:spPr>
        <a:solidFill>
          <a:srgbClr val="6DCFF6"/>
        </a:solidFill>
      </dgm:spPr>
      <dgm:t>
        <a:bodyPr/>
        <a:lstStyle/>
        <a:p>
          <a:endParaRPr lang="pl-PL" dirty="0"/>
        </a:p>
      </dgm:t>
    </dgm:pt>
    <dgm:pt modelId="{C4AB0F11-4CA6-4078-9855-3616A6E5B0AF}" type="parTrans" cxnId="{5A81CECA-708B-4723-8D92-367913DEF98D}">
      <dgm:prSet/>
      <dgm:spPr>
        <a:ln>
          <a:solidFill>
            <a:srgbClr val="6DCFF6"/>
          </a:solidFill>
        </a:ln>
      </dgm:spPr>
      <dgm:t>
        <a:bodyPr/>
        <a:lstStyle/>
        <a:p>
          <a:endParaRPr lang="pl-PL"/>
        </a:p>
      </dgm:t>
    </dgm:pt>
    <dgm:pt modelId="{B6DE40DB-6C88-4BA8-A537-FC46362D9095}" type="sibTrans" cxnId="{5A81CECA-708B-4723-8D92-367913DEF98D}">
      <dgm:prSet/>
      <dgm:spPr/>
      <dgm:t>
        <a:bodyPr/>
        <a:lstStyle/>
        <a:p>
          <a:endParaRPr lang="pl-PL"/>
        </a:p>
      </dgm:t>
    </dgm:pt>
    <dgm:pt modelId="{8CE38C69-EB96-4651-9B3E-53748AE5FC6C}" type="pres">
      <dgm:prSet presAssocID="{E293CED1-B5A9-49D2-AFAD-C024301F8369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5C0A1056-0DED-45C9-8611-503BDAD206AC}" type="pres">
      <dgm:prSet presAssocID="{7CFAA508-EAB1-4325-A73D-2ACEA179E4B4}" presName="hierRoot1" presStyleCnt="0">
        <dgm:presLayoutVars>
          <dgm:hierBranch val="init"/>
        </dgm:presLayoutVars>
      </dgm:prSet>
      <dgm:spPr/>
    </dgm:pt>
    <dgm:pt modelId="{13F7DB04-BCA7-4FCC-8599-A18B09CE8B7F}" type="pres">
      <dgm:prSet presAssocID="{7CFAA508-EAB1-4325-A73D-2ACEA179E4B4}" presName="rootComposite1" presStyleCnt="0"/>
      <dgm:spPr/>
    </dgm:pt>
    <dgm:pt modelId="{EAECC0AD-5679-47BB-8159-686619419F49}" type="pres">
      <dgm:prSet presAssocID="{7CFAA508-EAB1-4325-A73D-2ACEA179E4B4}" presName="rootText1" presStyleLbl="node0" presStyleIdx="0" presStyleCnt="1">
        <dgm:presLayoutVars>
          <dgm:chMax/>
          <dgm:chPref val="3"/>
        </dgm:presLayoutVars>
      </dgm:prSet>
      <dgm:spPr/>
    </dgm:pt>
    <dgm:pt modelId="{0FF21C90-A7FA-40DF-BAF1-07732493166F}" type="pres">
      <dgm:prSet presAssocID="{7CFAA508-EAB1-4325-A73D-2ACEA179E4B4}" presName="titleText1" presStyleLbl="fgAcc0" presStyleIdx="0" presStyleCnt="1">
        <dgm:presLayoutVars>
          <dgm:chMax val="0"/>
          <dgm:chPref val="0"/>
        </dgm:presLayoutVars>
      </dgm:prSet>
      <dgm:spPr/>
    </dgm:pt>
    <dgm:pt modelId="{6F1BA2B2-EE14-4CED-8F06-D878374E69F6}" type="pres">
      <dgm:prSet presAssocID="{7CFAA508-EAB1-4325-A73D-2ACEA179E4B4}" presName="rootConnector1" presStyleLbl="node1" presStyleIdx="0" presStyleCnt="4"/>
      <dgm:spPr/>
    </dgm:pt>
    <dgm:pt modelId="{23E6FE94-17E2-4480-A6BD-921B2EF06F7A}" type="pres">
      <dgm:prSet presAssocID="{7CFAA508-EAB1-4325-A73D-2ACEA179E4B4}" presName="hierChild2" presStyleCnt="0"/>
      <dgm:spPr/>
    </dgm:pt>
    <dgm:pt modelId="{0B9224BE-71E0-4F45-A79C-E181B98D93BE}" type="pres">
      <dgm:prSet presAssocID="{F7AA5CCE-FE0D-41BA-AC35-98E8D0C2653E}" presName="Name37" presStyleLbl="parChTrans1D2" presStyleIdx="0" presStyleCnt="6"/>
      <dgm:spPr/>
    </dgm:pt>
    <dgm:pt modelId="{C9F063B1-EA72-4429-B7A6-A71E4884C9F7}" type="pres">
      <dgm:prSet presAssocID="{B1E9E9F8-E08E-4D98-83AA-B672B17D0383}" presName="hierRoot2" presStyleCnt="0">
        <dgm:presLayoutVars>
          <dgm:hierBranch val="init"/>
        </dgm:presLayoutVars>
      </dgm:prSet>
      <dgm:spPr/>
    </dgm:pt>
    <dgm:pt modelId="{4844CC2B-9FE2-4DB3-B04A-4111FCFE52B2}" type="pres">
      <dgm:prSet presAssocID="{B1E9E9F8-E08E-4D98-83AA-B672B17D0383}" presName="rootComposite" presStyleCnt="0"/>
      <dgm:spPr/>
    </dgm:pt>
    <dgm:pt modelId="{F725E242-9FB8-4564-98BE-C2B511EDB45A}" type="pres">
      <dgm:prSet presAssocID="{B1E9E9F8-E08E-4D98-83AA-B672B17D0383}" presName="rootText" presStyleLbl="node1" presStyleIdx="0" presStyleCnt="4">
        <dgm:presLayoutVars>
          <dgm:chMax/>
          <dgm:chPref val="3"/>
        </dgm:presLayoutVars>
      </dgm:prSet>
      <dgm:spPr/>
    </dgm:pt>
    <dgm:pt modelId="{16101845-A618-4356-91EB-A156721F3E34}" type="pres">
      <dgm:prSet presAssocID="{B1E9E9F8-E08E-4D98-83AA-B672B17D0383}" presName="titleText2" presStyleLbl="fgAcc1" presStyleIdx="0" presStyleCnt="4">
        <dgm:presLayoutVars>
          <dgm:chMax val="0"/>
          <dgm:chPref val="0"/>
        </dgm:presLayoutVars>
      </dgm:prSet>
      <dgm:spPr/>
    </dgm:pt>
    <dgm:pt modelId="{89F21B12-E21C-4AC7-AE16-DF5DDFF07D55}" type="pres">
      <dgm:prSet presAssocID="{B1E9E9F8-E08E-4D98-83AA-B672B17D0383}" presName="rootConnector" presStyleLbl="node2" presStyleIdx="0" presStyleCnt="0"/>
      <dgm:spPr/>
    </dgm:pt>
    <dgm:pt modelId="{9485BE15-DF5F-4EEC-BA14-9C6C094B6C3E}" type="pres">
      <dgm:prSet presAssocID="{B1E9E9F8-E08E-4D98-83AA-B672B17D0383}" presName="hierChild4" presStyleCnt="0"/>
      <dgm:spPr/>
    </dgm:pt>
    <dgm:pt modelId="{EFB92109-CFE8-4C21-8EBE-1B4133F9BA05}" type="pres">
      <dgm:prSet presAssocID="{B1E9E9F8-E08E-4D98-83AA-B672B17D0383}" presName="hierChild5" presStyleCnt="0"/>
      <dgm:spPr/>
    </dgm:pt>
    <dgm:pt modelId="{E3DB9741-7B59-4ADE-BF50-1A5B17A8CE3F}" type="pres">
      <dgm:prSet presAssocID="{C5AADB7D-F896-41D8-86E0-11E4946D67E5}" presName="Name37" presStyleLbl="parChTrans1D2" presStyleIdx="1" presStyleCnt="6"/>
      <dgm:spPr/>
    </dgm:pt>
    <dgm:pt modelId="{649D86F1-2884-4F38-88F7-DFD7795978EB}" type="pres">
      <dgm:prSet presAssocID="{90C415DF-4292-4557-8538-AFF9795EFB0E}" presName="hierRoot2" presStyleCnt="0">
        <dgm:presLayoutVars>
          <dgm:hierBranch val="init"/>
        </dgm:presLayoutVars>
      </dgm:prSet>
      <dgm:spPr/>
    </dgm:pt>
    <dgm:pt modelId="{E4FB64C0-43FF-41AA-84C4-42D166F09BE6}" type="pres">
      <dgm:prSet presAssocID="{90C415DF-4292-4557-8538-AFF9795EFB0E}" presName="rootComposite" presStyleCnt="0"/>
      <dgm:spPr/>
    </dgm:pt>
    <dgm:pt modelId="{D36C0C50-F574-489F-9CF8-A189F70435B3}" type="pres">
      <dgm:prSet presAssocID="{90C415DF-4292-4557-8538-AFF9795EFB0E}" presName="rootText" presStyleLbl="node1" presStyleIdx="1" presStyleCnt="4">
        <dgm:presLayoutVars>
          <dgm:chMax/>
          <dgm:chPref val="3"/>
        </dgm:presLayoutVars>
      </dgm:prSet>
      <dgm:spPr/>
    </dgm:pt>
    <dgm:pt modelId="{84EE05FD-350F-4672-B015-8E706D408ED4}" type="pres">
      <dgm:prSet presAssocID="{90C415DF-4292-4557-8538-AFF9795EFB0E}" presName="titleText2" presStyleLbl="fgAcc1" presStyleIdx="1" presStyleCnt="4">
        <dgm:presLayoutVars>
          <dgm:chMax val="0"/>
          <dgm:chPref val="0"/>
        </dgm:presLayoutVars>
      </dgm:prSet>
      <dgm:spPr/>
    </dgm:pt>
    <dgm:pt modelId="{3AD58E0A-D343-4930-8623-FCFFB87601B9}" type="pres">
      <dgm:prSet presAssocID="{90C415DF-4292-4557-8538-AFF9795EFB0E}" presName="rootConnector" presStyleLbl="node2" presStyleIdx="0" presStyleCnt="0"/>
      <dgm:spPr/>
    </dgm:pt>
    <dgm:pt modelId="{61C2CA64-FA94-4903-B23C-4DCD560C7F3A}" type="pres">
      <dgm:prSet presAssocID="{90C415DF-4292-4557-8538-AFF9795EFB0E}" presName="hierChild4" presStyleCnt="0"/>
      <dgm:spPr/>
    </dgm:pt>
    <dgm:pt modelId="{4636A3EF-4080-496F-8A74-5D55D2B51F7C}" type="pres">
      <dgm:prSet presAssocID="{90C415DF-4292-4557-8538-AFF9795EFB0E}" presName="hierChild5" presStyleCnt="0"/>
      <dgm:spPr/>
    </dgm:pt>
    <dgm:pt modelId="{F9BEC2C4-B325-41BE-B6A3-32A403AC7170}" type="pres">
      <dgm:prSet presAssocID="{2AFA5994-6E6E-4251-9CDA-9456BCA03E1C}" presName="Name37" presStyleLbl="parChTrans1D2" presStyleIdx="2" presStyleCnt="6"/>
      <dgm:spPr/>
    </dgm:pt>
    <dgm:pt modelId="{0EBE191A-BCC0-401D-BECB-9B6D07FC1A91}" type="pres">
      <dgm:prSet presAssocID="{DF497D28-526E-476D-AFB2-D818CA22B577}" presName="hierRoot2" presStyleCnt="0">
        <dgm:presLayoutVars>
          <dgm:hierBranch val="init"/>
        </dgm:presLayoutVars>
      </dgm:prSet>
      <dgm:spPr/>
    </dgm:pt>
    <dgm:pt modelId="{D7BE2512-4030-456D-91E0-F62DAFC4D89C}" type="pres">
      <dgm:prSet presAssocID="{DF497D28-526E-476D-AFB2-D818CA22B577}" presName="rootComposite" presStyleCnt="0"/>
      <dgm:spPr/>
    </dgm:pt>
    <dgm:pt modelId="{7002CCBE-21D2-4CC1-92D0-DB50FC31FD4A}" type="pres">
      <dgm:prSet presAssocID="{DF497D28-526E-476D-AFB2-D818CA22B577}" presName="rootText" presStyleLbl="node1" presStyleIdx="2" presStyleCnt="4">
        <dgm:presLayoutVars>
          <dgm:chMax/>
          <dgm:chPref val="3"/>
        </dgm:presLayoutVars>
      </dgm:prSet>
      <dgm:spPr/>
    </dgm:pt>
    <dgm:pt modelId="{5A577F11-7776-4E5E-8CA0-1333284000E6}" type="pres">
      <dgm:prSet presAssocID="{DF497D28-526E-476D-AFB2-D818CA22B577}" presName="titleText2" presStyleLbl="fgAcc1" presStyleIdx="2" presStyleCnt="4">
        <dgm:presLayoutVars>
          <dgm:chMax val="0"/>
          <dgm:chPref val="0"/>
        </dgm:presLayoutVars>
      </dgm:prSet>
      <dgm:spPr/>
    </dgm:pt>
    <dgm:pt modelId="{CE4CFDFE-C34D-4930-8D16-6B81D6037A5A}" type="pres">
      <dgm:prSet presAssocID="{DF497D28-526E-476D-AFB2-D818CA22B577}" presName="rootConnector" presStyleLbl="node2" presStyleIdx="0" presStyleCnt="0"/>
      <dgm:spPr/>
    </dgm:pt>
    <dgm:pt modelId="{0D9C0CFE-617C-441E-8C3A-B86499D022B5}" type="pres">
      <dgm:prSet presAssocID="{DF497D28-526E-476D-AFB2-D818CA22B577}" presName="hierChild4" presStyleCnt="0"/>
      <dgm:spPr/>
    </dgm:pt>
    <dgm:pt modelId="{31E2F1CB-4589-434C-B0D1-7709CCBE6D3A}" type="pres">
      <dgm:prSet presAssocID="{DF497D28-526E-476D-AFB2-D818CA22B577}" presName="hierChild5" presStyleCnt="0"/>
      <dgm:spPr/>
    </dgm:pt>
    <dgm:pt modelId="{4C3C4242-E156-4DA9-8F7B-1117E238912B}" type="pres">
      <dgm:prSet presAssocID="{C4AB0F11-4CA6-4078-9855-3616A6E5B0AF}" presName="Name37" presStyleLbl="parChTrans1D2" presStyleIdx="3" presStyleCnt="6"/>
      <dgm:spPr/>
    </dgm:pt>
    <dgm:pt modelId="{50AA122D-E4FC-47D8-B2AA-3443FA24880C}" type="pres">
      <dgm:prSet presAssocID="{F57C80C3-31BA-4EBF-94B0-39D3496463D9}" presName="hierRoot2" presStyleCnt="0">
        <dgm:presLayoutVars>
          <dgm:hierBranch val="init"/>
        </dgm:presLayoutVars>
      </dgm:prSet>
      <dgm:spPr/>
    </dgm:pt>
    <dgm:pt modelId="{6B0F156B-44CA-486C-B95A-D2F88A82504B}" type="pres">
      <dgm:prSet presAssocID="{F57C80C3-31BA-4EBF-94B0-39D3496463D9}" presName="rootComposite" presStyleCnt="0"/>
      <dgm:spPr/>
    </dgm:pt>
    <dgm:pt modelId="{F7FC3F3F-D80F-42DE-9DA1-223FFE0E12C5}" type="pres">
      <dgm:prSet presAssocID="{F57C80C3-31BA-4EBF-94B0-39D3496463D9}" presName="rootText" presStyleLbl="node1" presStyleIdx="3" presStyleCnt="4">
        <dgm:presLayoutVars>
          <dgm:chMax/>
          <dgm:chPref val="3"/>
        </dgm:presLayoutVars>
      </dgm:prSet>
      <dgm:spPr/>
    </dgm:pt>
    <dgm:pt modelId="{BFDC359B-BA27-41CE-BC14-D48F6F75CB90}" type="pres">
      <dgm:prSet presAssocID="{F57C80C3-31BA-4EBF-94B0-39D3496463D9}" presName="titleText2" presStyleLbl="fgAcc1" presStyleIdx="3" presStyleCnt="4">
        <dgm:presLayoutVars>
          <dgm:chMax val="0"/>
          <dgm:chPref val="0"/>
        </dgm:presLayoutVars>
      </dgm:prSet>
      <dgm:spPr/>
    </dgm:pt>
    <dgm:pt modelId="{FA887ADB-C257-4E88-ABB4-DD690C188154}" type="pres">
      <dgm:prSet presAssocID="{F57C80C3-31BA-4EBF-94B0-39D3496463D9}" presName="rootConnector" presStyleLbl="node2" presStyleIdx="0" presStyleCnt="0"/>
      <dgm:spPr/>
    </dgm:pt>
    <dgm:pt modelId="{D2456BAF-B3DD-4685-B549-D4B8C514AC5A}" type="pres">
      <dgm:prSet presAssocID="{F57C80C3-31BA-4EBF-94B0-39D3496463D9}" presName="hierChild4" presStyleCnt="0"/>
      <dgm:spPr/>
    </dgm:pt>
    <dgm:pt modelId="{6BE9D03F-63B4-4C2C-9609-718C55E340C7}" type="pres">
      <dgm:prSet presAssocID="{F57C80C3-31BA-4EBF-94B0-39D3496463D9}" presName="hierChild5" presStyleCnt="0"/>
      <dgm:spPr/>
    </dgm:pt>
    <dgm:pt modelId="{4589BD91-A8BC-409F-8DB6-0E924BF135F8}" type="pres">
      <dgm:prSet presAssocID="{7CFAA508-EAB1-4325-A73D-2ACEA179E4B4}" presName="hierChild3" presStyleCnt="0"/>
      <dgm:spPr/>
    </dgm:pt>
    <dgm:pt modelId="{A48FCEFC-028A-48C7-9D12-4E5D98C5E42C}" type="pres">
      <dgm:prSet presAssocID="{21B27BD8-5A8D-4204-9F21-1A586F448231}" presName="Name96" presStyleLbl="parChTrans1D2" presStyleIdx="4" presStyleCnt="6"/>
      <dgm:spPr/>
    </dgm:pt>
    <dgm:pt modelId="{9F4D3127-E622-4A76-A4C2-87B035A87A5B}" type="pres">
      <dgm:prSet presAssocID="{E6402D96-30AC-4643-95AC-1A8636F34601}" presName="hierRoot3" presStyleCnt="0">
        <dgm:presLayoutVars>
          <dgm:hierBranch val="init"/>
        </dgm:presLayoutVars>
      </dgm:prSet>
      <dgm:spPr/>
    </dgm:pt>
    <dgm:pt modelId="{C924E4BE-1F86-4825-86A1-CF87C374B661}" type="pres">
      <dgm:prSet presAssocID="{E6402D96-30AC-4643-95AC-1A8636F34601}" presName="rootComposite3" presStyleCnt="0"/>
      <dgm:spPr/>
    </dgm:pt>
    <dgm:pt modelId="{5A99F425-1EA9-4A3E-B2C9-D0FA38928DB8}" type="pres">
      <dgm:prSet presAssocID="{E6402D96-30AC-4643-95AC-1A8636F34601}" presName="rootText3" presStyleLbl="asst1" presStyleIdx="0" presStyleCnt="2">
        <dgm:presLayoutVars>
          <dgm:chPref val="3"/>
        </dgm:presLayoutVars>
      </dgm:prSet>
      <dgm:spPr/>
    </dgm:pt>
    <dgm:pt modelId="{1D06D778-9725-49BB-8FC5-325057DE3AC3}" type="pres">
      <dgm:prSet presAssocID="{E6402D96-30AC-4643-95AC-1A8636F34601}" presName="titleText3" presStyleLbl="fgAcc2" presStyleIdx="0" presStyleCnt="2">
        <dgm:presLayoutVars>
          <dgm:chMax val="0"/>
          <dgm:chPref val="0"/>
        </dgm:presLayoutVars>
      </dgm:prSet>
      <dgm:spPr/>
    </dgm:pt>
    <dgm:pt modelId="{584335BF-5C22-4DF3-95F8-49D99453D133}" type="pres">
      <dgm:prSet presAssocID="{E6402D96-30AC-4643-95AC-1A8636F34601}" presName="rootConnector3" presStyleLbl="asst1" presStyleIdx="0" presStyleCnt="2"/>
      <dgm:spPr/>
    </dgm:pt>
    <dgm:pt modelId="{EB1AADDB-BFF4-4893-B873-B53F8103F396}" type="pres">
      <dgm:prSet presAssocID="{E6402D96-30AC-4643-95AC-1A8636F34601}" presName="hierChild6" presStyleCnt="0"/>
      <dgm:spPr/>
    </dgm:pt>
    <dgm:pt modelId="{932A161D-DB7A-426C-96BB-FF132F0FEF71}" type="pres">
      <dgm:prSet presAssocID="{E6402D96-30AC-4643-95AC-1A8636F34601}" presName="hierChild7" presStyleCnt="0"/>
      <dgm:spPr/>
    </dgm:pt>
    <dgm:pt modelId="{49610F70-20BB-4FAD-BFEB-5C11A797390E}" type="pres">
      <dgm:prSet presAssocID="{F666D108-2C85-42D2-9733-CE37E2023762}" presName="Name96" presStyleLbl="parChTrans1D2" presStyleIdx="5" presStyleCnt="6"/>
      <dgm:spPr/>
    </dgm:pt>
    <dgm:pt modelId="{ED352DCB-225A-442F-BCA2-B00883A722F3}" type="pres">
      <dgm:prSet presAssocID="{C3402E96-69AF-4B62-82D8-4D00F48AE963}" presName="hierRoot3" presStyleCnt="0">
        <dgm:presLayoutVars>
          <dgm:hierBranch val="init"/>
        </dgm:presLayoutVars>
      </dgm:prSet>
      <dgm:spPr/>
    </dgm:pt>
    <dgm:pt modelId="{B28821D3-5AAA-449A-B718-42101423A5D4}" type="pres">
      <dgm:prSet presAssocID="{C3402E96-69AF-4B62-82D8-4D00F48AE963}" presName="rootComposite3" presStyleCnt="0"/>
      <dgm:spPr/>
    </dgm:pt>
    <dgm:pt modelId="{13D0C237-A8B2-43D0-AD6E-1742C4806465}" type="pres">
      <dgm:prSet presAssocID="{C3402E96-69AF-4B62-82D8-4D00F48AE963}" presName="rootText3" presStyleLbl="asst1" presStyleIdx="1" presStyleCnt="2">
        <dgm:presLayoutVars>
          <dgm:chPref val="3"/>
        </dgm:presLayoutVars>
      </dgm:prSet>
      <dgm:spPr/>
    </dgm:pt>
    <dgm:pt modelId="{8CB5E423-F550-4019-871F-B5E118A5177B}" type="pres">
      <dgm:prSet presAssocID="{C3402E96-69AF-4B62-82D8-4D00F48AE963}" presName="titleText3" presStyleLbl="fgAcc2" presStyleIdx="1" presStyleCnt="2">
        <dgm:presLayoutVars>
          <dgm:chMax val="0"/>
          <dgm:chPref val="0"/>
        </dgm:presLayoutVars>
      </dgm:prSet>
      <dgm:spPr/>
    </dgm:pt>
    <dgm:pt modelId="{6693B9FA-0720-479F-9EC7-5974E73AC4A1}" type="pres">
      <dgm:prSet presAssocID="{C3402E96-69AF-4B62-82D8-4D00F48AE963}" presName="rootConnector3" presStyleLbl="asst1" presStyleIdx="1" presStyleCnt="2"/>
      <dgm:spPr/>
    </dgm:pt>
    <dgm:pt modelId="{67B6CE64-379A-4969-BF72-A20AE4884472}" type="pres">
      <dgm:prSet presAssocID="{C3402E96-69AF-4B62-82D8-4D00F48AE963}" presName="hierChild6" presStyleCnt="0"/>
      <dgm:spPr/>
    </dgm:pt>
    <dgm:pt modelId="{76356E38-7239-43F3-B7B9-DF121D87C946}" type="pres">
      <dgm:prSet presAssocID="{C3402E96-69AF-4B62-82D8-4D00F48AE963}" presName="hierChild7" presStyleCnt="0"/>
      <dgm:spPr/>
    </dgm:pt>
  </dgm:ptLst>
  <dgm:cxnLst>
    <dgm:cxn modelId="{613C9206-E0A6-407B-A5AB-CD9E3B8DE877}" srcId="{7CFAA508-EAB1-4325-A73D-2ACEA179E4B4}" destId="{C3402E96-69AF-4B62-82D8-4D00F48AE963}" srcOrd="5" destOrd="0" parTransId="{F666D108-2C85-42D2-9733-CE37E2023762}" sibTransId="{F3C475B9-D972-4036-8737-92C48907AA93}"/>
    <dgm:cxn modelId="{29B0CF1B-5E82-47C9-A92C-8ECB95E3FEEC}" srcId="{7CFAA508-EAB1-4325-A73D-2ACEA179E4B4}" destId="{90C415DF-4292-4557-8538-AFF9795EFB0E}" srcOrd="2" destOrd="0" parTransId="{C5AADB7D-F896-41D8-86E0-11E4946D67E5}" sibTransId="{7D1489F8-0EAA-48FC-A52D-DB0518EDFCB2}"/>
    <dgm:cxn modelId="{4F78FC25-5362-449E-AF19-FFFCAF4A0029}" type="presOf" srcId="{5FFC95E6-A19C-46C1-BC16-4BEA2EAF7EBC}" destId="{16101845-A618-4356-91EB-A156721F3E34}" srcOrd="0" destOrd="0" presId="urn:microsoft.com/office/officeart/2008/layout/NameandTitleOrganizationalChart"/>
    <dgm:cxn modelId="{F83D4D32-20B6-4BBC-BADC-E31FC9291E29}" type="presOf" srcId="{E6402D96-30AC-4643-95AC-1A8636F34601}" destId="{5A99F425-1EA9-4A3E-B2C9-D0FA38928DB8}" srcOrd="0" destOrd="0" presId="urn:microsoft.com/office/officeart/2008/layout/NameandTitleOrganizationalChart"/>
    <dgm:cxn modelId="{4488FE3B-97CE-4549-AA66-F724068BFC10}" srcId="{E293CED1-B5A9-49D2-AFAD-C024301F8369}" destId="{7CFAA508-EAB1-4325-A73D-2ACEA179E4B4}" srcOrd="0" destOrd="0" parTransId="{96374F46-6B39-4852-B057-3CEEAE2716E9}" sibTransId="{295072D3-B73D-4870-A1EC-E7C4870430E8}"/>
    <dgm:cxn modelId="{A6E87265-73FF-43D2-AFD8-DBEF2C60A3E0}" type="presOf" srcId="{B1E9E9F8-E08E-4D98-83AA-B672B17D0383}" destId="{89F21B12-E21C-4AC7-AE16-DF5DDFF07D55}" srcOrd="1" destOrd="0" presId="urn:microsoft.com/office/officeart/2008/layout/NameandTitleOrganizationalChart"/>
    <dgm:cxn modelId="{F7147146-1BFC-4921-AE66-D8DC65921D56}" type="presOf" srcId="{7D1489F8-0EAA-48FC-A52D-DB0518EDFCB2}" destId="{84EE05FD-350F-4672-B015-8E706D408ED4}" srcOrd="0" destOrd="0" presId="urn:microsoft.com/office/officeart/2008/layout/NameandTitleOrganizationalChart"/>
    <dgm:cxn modelId="{63059967-05D1-49CD-8C25-86224D5AC005}" type="presOf" srcId="{FFB0B488-E094-44D2-9870-2DB31BF9AE44}" destId="{5A577F11-7776-4E5E-8CA0-1333284000E6}" srcOrd="0" destOrd="0" presId="urn:microsoft.com/office/officeart/2008/layout/NameandTitleOrganizationalChart"/>
    <dgm:cxn modelId="{A7234069-FCE7-4D5A-B412-51CDDEF92E37}" type="presOf" srcId="{C4AB0F11-4CA6-4078-9855-3616A6E5B0AF}" destId="{4C3C4242-E156-4DA9-8F7B-1117E238912B}" srcOrd="0" destOrd="0" presId="urn:microsoft.com/office/officeart/2008/layout/NameandTitleOrganizationalChart"/>
    <dgm:cxn modelId="{9A629269-886E-4A9E-A49A-8A9181493AC2}" type="presOf" srcId="{DF497D28-526E-476D-AFB2-D818CA22B577}" destId="{CE4CFDFE-C34D-4930-8D16-6B81D6037A5A}" srcOrd="1" destOrd="0" presId="urn:microsoft.com/office/officeart/2008/layout/NameandTitleOrganizationalChart"/>
    <dgm:cxn modelId="{2885BD69-E99B-43B8-8AFE-062C43FAC7FC}" type="presOf" srcId="{320D2D85-2FBC-4DC8-9DFF-E54AA722C513}" destId="{1D06D778-9725-49BB-8FC5-325057DE3AC3}" srcOrd="0" destOrd="0" presId="urn:microsoft.com/office/officeart/2008/layout/NameandTitleOrganizationalChart"/>
    <dgm:cxn modelId="{E7D93F4C-2CF8-4D37-85AE-1FA322E8ED52}" type="presOf" srcId="{C5AADB7D-F896-41D8-86E0-11E4946D67E5}" destId="{E3DB9741-7B59-4ADE-BF50-1A5B17A8CE3F}" srcOrd="0" destOrd="0" presId="urn:microsoft.com/office/officeart/2008/layout/NameandTitleOrganizationalChart"/>
    <dgm:cxn modelId="{FBCFBF6E-51E8-4E71-95C0-762B0C51230D}" type="presOf" srcId="{2AFA5994-6E6E-4251-9CDA-9456BCA03E1C}" destId="{F9BEC2C4-B325-41BE-B6A3-32A403AC7170}" srcOrd="0" destOrd="0" presId="urn:microsoft.com/office/officeart/2008/layout/NameandTitleOrganizationalChart"/>
    <dgm:cxn modelId="{68B46670-56AA-4705-B365-3425661381EC}" type="presOf" srcId="{B6DE40DB-6C88-4BA8-A537-FC46362D9095}" destId="{BFDC359B-BA27-41CE-BC14-D48F6F75CB90}" srcOrd="0" destOrd="0" presId="urn:microsoft.com/office/officeart/2008/layout/NameandTitleOrganizationalChart"/>
    <dgm:cxn modelId="{4FE7E950-4680-4575-AD31-9A986727AEA2}" type="presOf" srcId="{E293CED1-B5A9-49D2-AFAD-C024301F8369}" destId="{8CE38C69-EB96-4651-9B3E-53748AE5FC6C}" srcOrd="0" destOrd="0" presId="urn:microsoft.com/office/officeart/2008/layout/NameandTitleOrganizationalChart"/>
    <dgm:cxn modelId="{825A8E73-0674-4298-A77E-737E8338A824}" type="presOf" srcId="{C3402E96-69AF-4B62-82D8-4D00F48AE963}" destId="{6693B9FA-0720-479F-9EC7-5974E73AC4A1}" srcOrd="1" destOrd="0" presId="urn:microsoft.com/office/officeart/2008/layout/NameandTitleOrganizationalChart"/>
    <dgm:cxn modelId="{817B7B7E-4259-4D8D-813C-994473669FA3}" srcId="{7CFAA508-EAB1-4325-A73D-2ACEA179E4B4}" destId="{DF497D28-526E-476D-AFB2-D818CA22B577}" srcOrd="3" destOrd="0" parTransId="{2AFA5994-6E6E-4251-9CDA-9456BCA03E1C}" sibTransId="{FFB0B488-E094-44D2-9870-2DB31BF9AE44}"/>
    <dgm:cxn modelId="{3354A882-5C63-48C1-9CA2-A8B96B9C2163}" type="presOf" srcId="{C3402E96-69AF-4B62-82D8-4D00F48AE963}" destId="{13D0C237-A8B2-43D0-AD6E-1742C4806465}" srcOrd="0" destOrd="0" presId="urn:microsoft.com/office/officeart/2008/layout/NameandTitleOrganizationalChart"/>
    <dgm:cxn modelId="{8C88BA8A-253E-472E-894F-0359BE996007}" type="presOf" srcId="{295072D3-B73D-4870-A1EC-E7C4870430E8}" destId="{0FF21C90-A7FA-40DF-BAF1-07732493166F}" srcOrd="0" destOrd="0" presId="urn:microsoft.com/office/officeart/2008/layout/NameandTitleOrganizationalChart"/>
    <dgm:cxn modelId="{123FF88A-46C1-4AE1-996B-0CB351B451F4}" type="presOf" srcId="{7CFAA508-EAB1-4325-A73D-2ACEA179E4B4}" destId="{EAECC0AD-5679-47BB-8159-686619419F49}" srcOrd="0" destOrd="0" presId="urn:microsoft.com/office/officeart/2008/layout/NameandTitleOrganizationalChart"/>
    <dgm:cxn modelId="{9CD5DA8C-66FF-4CAD-9543-8D9259650F1A}" type="presOf" srcId="{F666D108-2C85-42D2-9733-CE37E2023762}" destId="{49610F70-20BB-4FAD-BFEB-5C11A797390E}" srcOrd="0" destOrd="0" presId="urn:microsoft.com/office/officeart/2008/layout/NameandTitleOrganizationalChart"/>
    <dgm:cxn modelId="{935396A2-48A0-43F5-9F3D-77DBD7CB4E28}" type="presOf" srcId="{21B27BD8-5A8D-4204-9F21-1A586F448231}" destId="{A48FCEFC-028A-48C7-9D12-4E5D98C5E42C}" srcOrd="0" destOrd="0" presId="urn:microsoft.com/office/officeart/2008/layout/NameandTitleOrganizationalChart"/>
    <dgm:cxn modelId="{819B8DA7-E74F-4763-8F09-0B8C09FE572F}" type="presOf" srcId="{B1E9E9F8-E08E-4D98-83AA-B672B17D0383}" destId="{F725E242-9FB8-4564-98BE-C2B511EDB45A}" srcOrd="0" destOrd="0" presId="urn:microsoft.com/office/officeart/2008/layout/NameandTitleOrganizationalChart"/>
    <dgm:cxn modelId="{A49ACBAD-6EAA-4475-86E2-719F3DBE4271}" srcId="{7CFAA508-EAB1-4325-A73D-2ACEA179E4B4}" destId="{B1E9E9F8-E08E-4D98-83AA-B672B17D0383}" srcOrd="1" destOrd="0" parTransId="{F7AA5CCE-FE0D-41BA-AC35-98E8D0C2653E}" sibTransId="{5FFC95E6-A19C-46C1-BC16-4BEA2EAF7EBC}"/>
    <dgm:cxn modelId="{A516E6B3-8BE6-4C95-866D-2332B0CA984B}" type="presOf" srcId="{F57C80C3-31BA-4EBF-94B0-39D3496463D9}" destId="{FA887ADB-C257-4E88-ABB4-DD690C188154}" srcOrd="1" destOrd="0" presId="urn:microsoft.com/office/officeart/2008/layout/NameandTitleOrganizationalChart"/>
    <dgm:cxn modelId="{7BBF25B4-5A43-4B3A-B7F0-0B063D1E310D}" srcId="{7CFAA508-EAB1-4325-A73D-2ACEA179E4B4}" destId="{E6402D96-30AC-4643-95AC-1A8636F34601}" srcOrd="0" destOrd="0" parTransId="{21B27BD8-5A8D-4204-9F21-1A586F448231}" sibTransId="{320D2D85-2FBC-4DC8-9DFF-E54AA722C513}"/>
    <dgm:cxn modelId="{D79ED1BB-218C-4D38-AF9A-E2BB34C90C30}" type="presOf" srcId="{F3C475B9-D972-4036-8737-92C48907AA93}" destId="{8CB5E423-F550-4019-871F-B5E118A5177B}" srcOrd="0" destOrd="0" presId="urn:microsoft.com/office/officeart/2008/layout/NameandTitleOrganizationalChart"/>
    <dgm:cxn modelId="{308543C1-CFF5-4959-8E8D-0B0A57AEE79A}" type="presOf" srcId="{F7AA5CCE-FE0D-41BA-AC35-98E8D0C2653E}" destId="{0B9224BE-71E0-4F45-A79C-E181B98D93BE}" srcOrd="0" destOrd="0" presId="urn:microsoft.com/office/officeart/2008/layout/NameandTitleOrganizationalChart"/>
    <dgm:cxn modelId="{1D896FC2-FD9F-4384-B0A8-C5583B1719D1}" type="presOf" srcId="{90C415DF-4292-4557-8538-AFF9795EFB0E}" destId="{D36C0C50-F574-489F-9CF8-A189F70435B3}" srcOrd="0" destOrd="0" presId="urn:microsoft.com/office/officeart/2008/layout/NameandTitleOrganizationalChart"/>
    <dgm:cxn modelId="{195F5DCA-5D20-4C4F-8F9E-D825BFE4F24C}" type="presOf" srcId="{F57C80C3-31BA-4EBF-94B0-39D3496463D9}" destId="{F7FC3F3F-D80F-42DE-9DA1-223FFE0E12C5}" srcOrd="0" destOrd="0" presId="urn:microsoft.com/office/officeart/2008/layout/NameandTitleOrganizationalChart"/>
    <dgm:cxn modelId="{5A81CECA-708B-4723-8D92-367913DEF98D}" srcId="{7CFAA508-EAB1-4325-A73D-2ACEA179E4B4}" destId="{F57C80C3-31BA-4EBF-94B0-39D3496463D9}" srcOrd="4" destOrd="0" parTransId="{C4AB0F11-4CA6-4078-9855-3616A6E5B0AF}" sibTransId="{B6DE40DB-6C88-4BA8-A537-FC46362D9095}"/>
    <dgm:cxn modelId="{D01F9CD7-99A3-4507-BB05-1BBD1A51FFBD}" type="presOf" srcId="{E6402D96-30AC-4643-95AC-1A8636F34601}" destId="{584335BF-5C22-4DF3-95F8-49D99453D133}" srcOrd="1" destOrd="0" presId="urn:microsoft.com/office/officeart/2008/layout/NameandTitleOrganizationalChart"/>
    <dgm:cxn modelId="{0C4BB8E7-095B-4030-A633-05A95D00B32D}" type="presOf" srcId="{7CFAA508-EAB1-4325-A73D-2ACEA179E4B4}" destId="{6F1BA2B2-EE14-4CED-8F06-D878374E69F6}" srcOrd="1" destOrd="0" presId="urn:microsoft.com/office/officeart/2008/layout/NameandTitleOrganizationalChart"/>
    <dgm:cxn modelId="{CCC103FB-F3D4-4B6E-AE08-BBF7D5103BB8}" type="presOf" srcId="{DF497D28-526E-476D-AFB2-D818CA22B577}" destId="{7002CCBE-21D2-4CC1-92D0-DB50FC31FD4A}" srcOrd="0" destOrd="0" presId="urn:microsoft.com/office/officeart/2008/layout/NameandTitleOrganizationalChart"/>
    <dgm:cxn modelId="{895042FE-1B96-4081-8705-0D285C9A85C5}" type="presOf" srcId="{90C415DF-4292-4557-8538-AFF9795EFB0E}" destId="{3AD58E0A-D343-4930-8623-FCFFB87601B9}" srcOrd="1" destOrd="0" presId="urn:microsoft.com/office/officeart/2008/layout/NameandTitleOrganizationalChart"/>
    <dgm:cxn modelId="{C0ABA43F-883D-4690-AC37-DD0D2521EE81}" type="presParOf" srcId="{8CE38C69-EB96-4651-9B3E-53748AE5FC6C}" destId="{5C0A1056-0DED-45C9-8611-503BDAD206AC}" srcOrd="0" destOrd="0" presId="urn:microsoft.com/office/officeart/2008/layout/NameandTitleOrganizationalChart"/>
    <dgm:cxn modelId="{890064A7-971B-4436-B06A-A173F40C345C}" type="presParOf" srcId="{5C0A1056-0DED-45C9-8611-503BDAD206AC}" destId="{13F7DB04-BCA7-4FCC-8599-A18B09CE8B7F}" srcOrd="0" destOrd="0" presId="urn:microsoft.com/office/officeart/2008/layout/NameandTitleOrganizationalChart"/>
    <dgm:cxn modelId="{0AF8D71D-6DD8-4237-8A35-37CA1B806383}" type="presParOf" srcId="{13F7DB04-BCA7-4FCC-8599-A18B09CE8B7F}" destId="{EAECC0AD-5679-47BB-8159-686619419F49}" srcOrd="0" destOrd="0" presId="urn:microsoft.com/office/officeart/2008/layout/NameandTitleOrganizationalChart"/>
    <dgm:cxn modelId="{521E8252-8C73-4D6A-ABB4-DA33BF5F6ACC}" type="presParOf" srcId="{13F7DB04-BCA7-4FCC-8599-A18B09CE8B7F}" destId="{0FF21C90-A7FA-40DF-BAF1-07732493166F}" srcOrd="1" destOrd="0" presId="urn:microsoft.com/office/officeart/2008/layout/NameandTitleOrganizationalChart"/>
    <dgm:cxn modelId="{EFBFF28F-38FB-4E7C-9924-76517E0E0CA8}" type="presParOf" srcId="{13F7DB04-BCA7-4FCC-8599-A18B09CE8B7F}" destId="{6F1BA2B2-EE14-4CED-8F06-D878374E69F6}" srcOrd="2" destOrd="0" presId="urn:microsoft.com/office/officeart/2008/layout/NameandTitleOrganizationalChart"/>
    <dgm:cxn modelId="{11FF860E-022D-4F39-9C28-E707F1307CB8}" type="presParOf" srcId="{5C0A1056-0DED-45C9-8611-503BDAD206AC}" destId="{23E6FE94-17E2-4480-A6BD-921B2EF06F7A}" srcOrd="1" destOrd="0" presId="urn:microsoft.com/office/officeart/2008/layout/NameandTitleOrganizationalChart"/>
    <dgm:cxn modelId="{E0142A85-C35F-45B4-99EF-4DDFE9EAFA71}" type="presParOf" srcId="{23E6FE94-17E2-4480-A6BD-921B2EF06F7A}" destId="{0B9224BE-71E0-4F45-A79C-E181B98D93BE}" srcOrd="0" destOrd="0" presId="urn:microsoft.com/office/officeart/2008/layout/NameandTitleOrganizationalChart"/>
    <dgm:cxn modelId="{4FB532D5-B9F3-4FCB-BF48-C6153C7DB664}" type="presParOf" srcId="{23E6FE94-17E2-4480-A6BD-921B2EF06F7A}" destId="{C9F063B1-EA72-4429-B7A6-A71E4884C9F7}" srcOrd="1" destOrd="0" presId="urn:microsoft.com/office/officeart/2008/layout/NameandTitleOrganizationalChart"/>
    <dgm:cxn modelId="{E29974BA-D5A5-4494-B9C5-588D7296CFB6}" type="presParOf" srcId="{C9F063B1-EA72-4429-B7A6-A71E4884C9F7}" destId="{4844CC2B-9FE2-4DB3-B04A-4111FCFE52B2}" srcOrd="0" destOrd="0" presId="urn:microsoft.com/office/officeart/2008/layout/NameandTitleOrganizationalChart"/>
    <dgm:cxn modelId="{5A1812F4-6DDF-46A6-93AA-EF5E39AD9AF8}" type="presParOf" srcId="{4844CC2B-9FE2-4DB3-B04A-4111FCFE52B2}" destId="{F725E242-9FB8-4564-98BE-C2B511EDB45A}" srcOrd="0" destOrd="0" presId="urn:microsoft.com/office/officeart/2008/layout/NameandTitleOrganizationalChart"/>
    <dgm:cxn modelId="{F8623DC9-6F5A-4A25-9698-8BFD7850FB18}" type="presParOf" srcId="{4844CC2B-9FE2-4DB3-B04A-4111FCFE52B2}" destId="{16101845-A618-4356-91EB-A156721F3E34}" srcOrd="1" destOrd="0" presId="urn:microsoft.com/office/officeart/2008/layout/NameandTitleOrganizationalChart"/>
    <dgm:cxn modelId="{8CE1D02B-5371-49AF-B676-03BDB48E4099}" type="presParOf" srcId="{4844CC2B-9FE2-4DB3-B04A-4111FCFE52B2}" destId="{89F21B12-E21C-4AC7-AE16-DF5DDFF07D55}" srcOrd="2" destOrd="0" presId="urn:microsoft.com/office/officeart/2008/layout/NameandTitleOrganizationalChart"/>
    <dgm:cxn modelId="{36DFC508-7B96-467B-859C-726188E78C64}" type="presParOf" srcId="{C9F063B1-EA72-4429-B7A6-A71E4884C9F7}" destId="{9485BE15-DF5F-4EEC-BA14-9C6C094B6C3E}" srcOrd="1" destOrd="0" presId="urn:microsoft.com/office/officeart/2008/layout/NameandTitleOrganizationalChart"/>
    <dgm:cxn modelId="{49970944-C634-4B4A-9A18-6FAAE06C44F5}" type="presParOf" srcId="{C9F063B1-EA72-4429-B7A6-A71E4884C9F7}" destId="{EFB92109-CFE8-4C21-8EBE-1B4133F9BA05}" srcOrd="2" destOrd="0" presId="urn:microsoft.com/office/officeart/2008/layout/NameandTitleOrganizationalChart"/>
    <dgm:cxn modelId="{85642CEE-D94A-4784-A2D2-6394A1D1849F}" type="presParOf" srcId="{23E6FE94-17E2-4480-A6BD-921B2EF06F7A}" destId="{E3DB9741-7B59-4ADE-BF50-1A5B17A8CE3F}" srcOrd="2" destOrd="0" presId="urn:microsoft.com/office/officeart/2008/layout/NameandTitleOrganizationalChart"/>
    <dgm:cxn modelId="{C042284B-55C1-49E2-889D-38E1876599D6}" type="presParOf" srcId="{23E6FE94-17E2-4480-A6BD-921B2EF06F7A}" destId="{649D86F1-2884-4F38-88F7-DFD7795978EB}" srcOrd="3" destOrd="0" presId="urn:microsoft.com/office/officeart/2008/layout/NameandTitleOrganizationalChart"/>
    <dgm:cxn modelId="{013C4ECA-0392-4F3C-BA36-BBCB8B4EEF32}" type="presParOf" srcId="{649D86F1-2884-4F38-88F7-DFD7795978EB}" destId="{E4FB64C0-43FF-41AA-84C4-42D166F09BE6}" srcOrd="0" destOrd="0" presId="urn:microsoft.com/office/officeart/2008/layout/NameandTitleOrganizationalChart"/>
    <dgm:cxn modelId="{22BC89AD-D3A6-46C0-A0F3-702C83DE5758}" type="presParOf" srcId="{E4FB64C0-43FF-41AA-84C4-42D166F09BE6}" destId="{D36C0C50-F574-489F-9CF8-A189F70435B3}" srcOrd="0" destOrd="0" presId="urn:microsoft.com/office/officeart/2008/layout/NameandTitleOrganizationalChart"/>
    <dgm:cxn modelId="{559C02F5-56AE-4809-874F-539E8D44D22F}" type="presParOf" srcId="{E4FB64C0-43FF-41AA-84C4-42D166F09BE6}" destId="{84EE05FD-350F-4672-B015-8E706D408ED4}" srcOrd="1" destOrd="0" presId="urn:microsoft.com/office/officeart/2008/layout/NameandTitleOrganizationalChart"/>
    <dgm:cxn modelId="{1688DF34-9C8F-4D4C-A994-E82004BC6226}" type="presParOf" srcId="{E4FB64C0-43FF-41AA-84C4-42D166F09BE6}" destId="{3AD58E0A-D343-4930-8623-FCFFB87601B9}" srcOrd="2" destOrd="0" presId="urn:microsoft.com/office/officeart/2008/layout/NameandTitleOrganizationalChart"/>
    <dgm:cxn modelId="{BAF9B306-F1F0-4A12-800A-33ACA3AB8AE6}" type="presParOf" srcId="{649D86F1-2884-4F38-88F7-DFD7795978EB}" destId="{61C2CA64-FA94-4903-B23C-4DCD560C7F3A}" srcOrd="1" destOrd="0" presId="urn:microsoft.com/office/officeart/2008/layout/NameandTitleOrganizationalChart"/>
    <dgm:cxn modelId="{C7DCA022-BC15-46CE-8753-A1F96491BEE4}" type="presParOf" srcId="{649D86F1-2884-4F38-88F7-DFD7795978EB}" destId="{4636A3EF-4080-496F-8A74-5D55D2B51F7C}" srcOrd="2" destOrd="0" presId="urn:microsoft.com/office/officeart/2008/layout/NameandTitleOrganizationalChart"/>
    <dgm:cxn modelId="{3FDD1E74-E904-4CA4-BB6E-39577D8B00EB}" type="presParOf" srcId="{23E6FE94-17E2-4480-A6BD-921B2EF06F7A}" destId="{F9BEC2C4-B325-41BE-B6A3-32A403AC7170}" srcOrd="4" destOrd="0" presId="urn:microsoft.com/office/officeart/2008/layout/NameandTitleOrganizationalChart"/>
    <dgm:cxn modelId="{3F06F2E7-DB67-420B-980F-A88A07D00EEC}" type="presParOf" srcId="{23E6FE94-17E2-4480-A6BD-921B2EF06F7A}" destId="{0EBE191A-BCC0-401D-BECB-9B6D07FC1A91}" srcOrd="5" destOrd="0" presId="urn:microsoft.com/office/officeart/2008/layout/NameandTitleOrganizationalChart"/>
    <dgm:cxn modelId="{3EDF132F-FDF1-4EBE-ADEE-CCCEF4BC1626}" type="presParOf" srcId="{0EBE191A-BCC0-401D-BECB-9B6D07FC1A91}" destId="{D7BE2512-4030-456D-91E0-F62DAFC4D89C}" srcOrd="0" destOrd="0" presId="urn:microsoft.com/office/officeart/2008/layout/NameandTitleOrganizationalChart"/>
    <dgm:cxn modelId="{0DABE9CF-5335-4551-B28E-4C5DD571B57B}" type="presParOf" srcId="{D7BE2512-4030-456D-91E0-F62DAFC4D89C}" destId="{7002CCBE-21D2-4CC1-92D0-DB50FC31FD4A}" srcOrd="0" destOrd="0" presId="urn:microsoft.com/office/officeart/2008/layout/NameandTitleOrganizationalChart"/>
    <dgm:cxn modelId="{C682E368-56DB-4B79-B9E4-C0BB3D4B809F}" type="presParOf" srcId="{D7BE2512-4030-456D-91E0-F62DAFC4D89C}" destId="{5A577F11-7776-4E5E-8CA0-1333284000E6}" srcOrd="1" destOrd="0" presId="urn:microsoft.com/office/officeart/2008/layout/NameandTitleOrganizationalChart"/>
    <dgm:cxn modelId="{19804F5F-B69D-4D2F-B46B-1DA5A2A33D2A}" type="presParOf" srcId="{D7BE2512-4030-456D-91E0-F62DAFC4D89C}" destId="{CE4CFDFE-C34D-4930-8D16-6B81D6037A5A}" srcOrd="2" destOrd="0" presId="urn:microsoft.com/office/officeart/2008/layout/NameandTitleOrganizationalChart"/>
    <dgm:cxn modelId="{FA1A0C0E-EED1-432B-90FE-9E3A78402805}" type="presParOf" srcId="{0EBE191A-BCC0-401D-BECB-9B6D07FC1A91}" destId="{0D9C0CFE-617C-441E-8C3A-B86499D022B5}" srcOrd="1" destOrd="0" presId="urn:microsoft.com/office/officeart/2008/layout/NameandTitleOrganizationalChart"/>
    <dgm:cxn modelId="{E4A56AA2-68E1-4A9C-8847-3F16227C505B}" type="presParOf" srcId="{0EBE191A-BCC0-401D-BECB-9B6D07FC1A91}" destId="{31E2F1CB-4589-434C-B0D1-7709CCBE6D3A}" srcOrd="2" destOrd="0" presId="urn:microsoft.com/office/officeart/2008/layout/NameandTitleOrganizationalChart"/>
    <dgm:cxn modelId="{88518A25-93AE-468F-B0E7-EBCB8A63FD98}" type="presParOf" srcId="{23E6FE94-17E2-4480-A6BD-921B2EF06F7A}" destId="{4C3C4242-E156-4DA9-8F7B-1117E238912B}" srcOrd="6" destOrd="0" presId="urn:microsoft.com/office/officeart/2008/layout/NameandTitleOrganizationalChart"/>
    <dgm:cxn modelId="{29E11E77-6844-4D05-BBAD-65BDD2F551C2}" type="presParOf" srcId="{23E6FE94-17E2-4480-A6BD-921B2EF06F7A}" destId="{50AA122D-E4FC-47D8-B2AA-3443FA24880C}" srcOrd="7" destOrd="0" presId="urn:microsoft.com/office/officeart/2008/layout/NameandTitleOrganizationalChart"/>
    <dgm:cxn modelId="{F7F9EC02-7978-435B-91AC-92374179919F}" type="presParOf" srcId="{50AA122D-E4FC-47D8-B2AA-3443FA24880C}" destId="{6B0F156B-44CA-486C-B95A-D2F88A82504B}" srcOrd="0" destOrd="0" presId="urn:microsoft.com/office/officeart/2008/layout/NameandTitleOrganizationalChart"/>
    <dgm:cxn modelId="{A08A55BB-BBE5-4134-9DC8-1821101249B7}" type="presParOf" srcId="{6B0F156B-44CA-486C-B95A-D2F88A82504B}" destId="{F7FC3F3F-D80F-42DE-9DA1-223FFE0E12C5}" srcOrd="0" destOrd="0" presId="urn:microsoft.com/office/officeart/2008/layout/NameandTitleOrganizationalChart"/>
    <dgm:cxn modelId="{700FEFA5-57E9-4088-98DE-05B2555061FC}" type="presParOf" srcId="{6B0F156B-44CA-486C-B95A-D2F88A82504B}" destId="{BFDC359B-BA27-41CE-BC14-D48F6F75CB90}" srcOrd="1" destOrd="0" presId="urn:microsoft.com/office/officeart/2008/layout/NameandTitleOrganizationalChart"/>
    <dgm:cxn modelId="{74C892A7-BA7B-46E6-9574-4E6A30D0A287}" type="presParOf" srcId="{6B0F156B-44CA-486C-B95A-D2F88A82504B}" destId="{FA887ADB-C257-4E88-ABB4-DD690C188154}" srcOrd="2" destOrd="0" presId="urn:microsoft.com/office/officeart/2008/layout/NameandTitleOrganizationalChart"/>
    <dgm:cxn modelId="{34D69A43-9C42-45D4-BE3A-5E55EBAF0670}" type="presParOf" srcId="{50AA122D-E4FC-47D8-B2AA-3443FA24880C}" destId="{D2456BAF-B3DD-4685-B549-D4B8C514AC5A}" srcOrd="1" destOrd="0" presId="urn:microsoft.com/office/officeart/2008/layout/NameandTitleOrganizationalChart"/>
    <dgm:cxn modelId="{312D537D-3770-4CEA-BCF1-B53647AFF17E}" type="presParOf" srcId="{50AA122D-E4FC-47D8-B2AA-3443FA24880C}" destId="{6BE9D03F-63B4-4C2C-9609-718C55E340C7}" srcOrd="2" destOrd="0" presId="urn:microsoft.com/office/officeart/2008/layout/NameandTitleOrganizationalChart"/>
    <dgm:cxn modelId="{ADD5B142-3F38-403E-A410-F366D9EA9385}" type="presParOf" srcId="{5C0A1056-0DED-45C9-8611-503BDAD206AC}" destId="{4589BD91-A8BC-409F-8DB6-0E924BF135F8}" srcOrd="2" destOrd="0" presId="urn:microsoft.com/office/officeart/2008/layout/NameandTitleOrganizationalChart"/>
    <dgm:cxn modelId="{4CE24809-0533-4203-A326-2969F1ED8E0A}" type="presParOf" srcId="{4589BD91-A8BC-409F-8DB6-0E924BF135F8}" destId="{A48FCEFC-028A-48C7-9D12-4E5D98C5E42C}" srcOrd="0" destOrd="0" presId="urn:microsoft.com/office/officeart/2008/layout/NameandTitleOrganizationalChart"/>
    <dgm:cxn modelId="{DC4CF8BC-FF23-45C8-8C77-7DD16E2B2BA5}" type="presParOf" srcId="{4589BD91-A8BC-409F-8DB6-0E924BF135F8}" destId="{9F4D3127-E622-4A76-A4C2-87B035A87A5B}" srcOrd="1" destOrd="0" presId="urn:microsoft.com/office/officeart/2008/layout/NameandTitleOrganizationalChart"/>
    <dgm:cxn modelId="{6321CD43-D12C-4A6B-BE58-2917ABEDC9B9}" type="presParOf" srcId="{9F4D3127-E622-4A76-A4C2-87B035A87A5B}" destId="{C924E4BE-1F86-4825-86A1-CF87C374B661}" srcOrd="0" destOrd="0" presId="urn:microsoft.com/office/officeart/2008/layout/NameandTitleOrganizationalChart"/>
    <dgm:cxn modelId="{691BEE3B-D9DB-4912-910E-4E46BDAAEC7A}" type="presParOf" srcId="{C924E4BE-1F86-4825-86A1-CF87C374B661}" destId="{5A99F425-1EA9-4A3E-B2C9-D0FA38928DB8}" srcOrd="0" destOrd="0" presId="urn:microsoft.com/office/officeart/2008/layout/NameandTitleOrganizationalChart"/>
    <dgm:cxn modelId="{E7B1B91D-99E3-41A3-875E-1FDABB9A8E1A}" type="presParOf" srcId="{C924E4BE-1F86-4825-86A1-CF87C374B661}" destId="{1D06D778-9725-49BB-8FC5-325057DE3AC3}" srcOrd="1" destOrd="0" presId="urn:microsoft.com/office/officeart/2008/layout/NameandTitleOrganizationalChart"/>
    <dgm:cxn modelId="{1BED1772-25F1-4996-996E-FDA6983F7FB7}" type="presParOf" srcId="{C924E4BE-1F86-4825-86A1-CF87C374B661}" destId="{584335BF-5C22-4DF3-95F8-49D99453D133}" srcOrd="2" destOrd="0" presId="urn:microsoft.com/office/officeart/2008/layout/NameandTitleOrganizationalChart"/>
    <dgm:cxn modelId="{FD10DD20-E24A-439E-89F4-6C45CC114982}" type="presParOf" srcId="{9F4D3127-E622-4A76-A4C2-87B035A87A5B}" destId="{EB1AADDB-BFF4-4893-B873-B53F8103F396}" srcOrd="1" destOrd="0" presId="urn:microsoft.com/office/officeart/2008/layout/NameandTitleOrganizationalChart"/>
    <dgm:cxn modelId="{772E36E3-2DB7-4B05-B6BA-A3D72016AFB1}" type="presParOf" srcId="{9F4D3127-E622-4A76-A4C2-87B035A87A5B}" destId="{932A161D-DB7A-426C-96BB-FF132F0FEF71}" srcOrd="2" destOrd="0" presId="urn:microsoft.com/office/officeart/2008/layout/NameandTitleOrganizationalChart"/>
    <dgm:cxn modelId="{15AA1496-C51F-4A29-9353-6E657BD81342}" type="presParOf" srcId="{4589BD91-A8BC-409F-8DB6-0E924BF135F8}" destId="{49610F70-20BB-4FAD-BFEB-5C11A797390E}" srcOrd="2" destOrd="0" presId="urn:microsoft.com/office/officeart/2008/layout/NameandTitleOrganizationalChart"/>
    <dgm:cxn modelId="{DB287F45-6C11-43F1-9E73-57F3D9C1A13B}" type="presParOf" srcId="{4589BD91-A8BC-409F-8DB6-0E924BF135F8}" destId="{ED352DCB-225A-442F-BCA2-B00883A722F3}" srcOrd="3" destOrd="0" presId="urn:microsoft.com/office/officeart/2008/layout/NameandTitleOrganizationalChart"/>
    <dgm:cxn modelId="{039BB6CE-65AB-4436-9E19-B30BD7A245C8}" type="presParOf" srcId="{ED352DCB-225A-442F-BCA2-B00883A722F3}" destId="{B28821D3-5AAA-449A-B718-42101423A5D4}" srcOrd="0" destOrd="0" presId="urn:microsoft.com/office/officeart/2008/layout/NameandTitleOrganizationalChart"/>
    <dgm:cxn modelId="{3470CE79-C49E-4AE3-9B3D-429474422481}" type="presParOf" srcId="{B28821D3-5AAA-449A-B718-42101423A5D4}" destId="{13D0C237-A8B2-43D0-AD6E-1742C4806465}" srcOrd="0" destOrd="0" presId="urn:microsoft.com/office/officeart/2008/layout/NameandTitleOrganizationalChart"/>
    <dgm:cxn modelId="{B34C36A9-B1FE-4F5E-BEAC-7C3C8351E434}" type="presParOf" srcId="{B28821D3-5AAA-449A-B718-42101423A5D4}" destId="{8CB5E423-F550-4019-871F-B5E118A5177B}" srcOrd="1" destOrd="0" presId="urn:microsoft.com/office/officeart/2008/layout/NameandTitleOrganizationalChart"/>
    <dgm:cxn modelId="{027B4A4B-0E4F-45C6-A367-0213B9A7BB7C}" type="presParOf" srcId="{B28821D3-5AAA-449A-B718-42101423A5D4}" destId="{6693B9FA-0720-479F-9EC7-5974E73AC4A1}" srcOrd="2" destOrd="0" presId="urn:microsoft.com/office/officeart/2008/layout/NameandTitleOrganizationalChart"/>
    <dgm:cxn modelId="{80431FAA-5BF4-46A0-A92F-7333A471C296}" type="presParOf" srcId="{ED352DCB-225A-442F-BCA2-B00883A722F3}" destId="{67B6CE64-379A-4969-BF72-A20AE4884472}" srcOrd="1" destOrd="0" presId="urn:microsoft.com/office/officeart/2008/layout/NameandTitleOrganizationalChart"/>
    <dgm:cxn modelId="{1AB78E46-4507-48F5-97E2-3EFD90475522}" type="presParOf" srcId="{ED352DCB-225A-442F-BCA2-B00883A722F3}" destId="{76356E38-7239-43F3-B7B9-DF121D87C946}" srcOrd="2" destOrd="0" presId="urn:microsoft.com/office/officeart/2008/layout/NameandTitleOrganizationalChar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62918C6-6303-4F05-A688-FD45E5469573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96FF54F7-6569-4BE4-B8BC-5FF58243CBE2}">
      <dgm:prSet phldrT="[Tekst]" custT="1"/>
      <dgm:spPr>
        <a:solidFill>
          <a:srgbClr val="FF0000"/>
        </a:solidFill>
      </dgm:spPr>
      <dgm:t>
        <a:bodyPr/>
        <a:lstStyle/>
        <a:p>
          <a:r>
            <a:rPr lang="pl-PL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Wypadki śmiertelne</a:t>
          </a:r>
        </a:p>
      </dgm:t>
    </dgm:pt>
    <dgm:pt modelId="{2B0108F6-968A-4055-91CE-7BBD2374D53B}" type="parTrans" cxnId="{5D8F3478-885A-4BF5-BFF9-6531D6659855}">
      <dgm:prSet/>
      <dgm:spPr/>
      <dgm:t>
        <a:bodyPr/>
        <a:lstStyle/>
        <a:p>
          <a:endParaRPr lang="pl-PL"/>
        </a:p>
      </dgm:t>
    </dgm:pt>
    <dgm:pt modelId="{65F58072-7DA1-4C50-807C-2D2D34CCBBE7}" type="sibTrans" cxnId="{5D8F3478-885A-4BF5-BFF9-6531D6659855}">
      <dgm:prSet/>
      <dgm:spPr/>
      <dgm:t>
        <a:bodyPr/>
        <a:lstStyle/>
        <a:p>
          <a:endParaRPr lang="pl-PL"/>
        </a:p>
      </dgm:t>
    </dgm:pt>
    <dgm:pt modelId="{CE9CBED5-91E4-4234-BE4B-7675226748FB}">
      <dgm:prSet phldrT="[Tekst]" custT="1"/>
      <dgm:spPr>
        <a:solidFill>
          <a:srgbClr val="00B050"/>
        </a:solidFill>
      </dgm:spPr>
      <dgm:t>
        <a:bodyPr/>
        <a:lstStyle/>
        <a:p>
          <a:r>
            <a:rPr lang="pl-PL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Obserwacje</a:t>
          </a:r>
        </a:p>
      </dgm:t>
    </dgm:pt>
    <dgm:pt modelId="{2254BBBE-2A7C-4843-BA4F-5DB95255A4D4}" type="parTrans" cxnId="{55BC9A9D-0DF6-4C15-B7B9-0406B0C577FE}">
      <dgm:prSet/>
      <dgm:spPr/>
      <dgm:t>
        <a:bodyPr/>
        <a:lstStyle/>
        <a:p>
          <a:endParaRPr lang="pl-PL"/>
        </a:p>
      </dgm:t>
    </dgm:pt>
    <dgm:pt modelId="{7153A0BE-59F5-41C5-8C0D-4F304FE6964C}" type="sibTrans" cxnId="{55BC9A9D-0DF6-4C15-B7B9-0406B0C577FE}">
      <dgm:prSet/>
      <dgm:spPr/>
      <dgm:t>
        <a:bodyPr/>
        <a:lstStyle/>
        <a:p>
          <a:endParaRPr lang="pl-PL"/>
        </a:p>
      </dgm:t>
    </dgm:pt>
    <dgm:pt modelId="{166A6248-3A1A-4DBF-8EB3-7493D840BA79}">
      <dgm:prSet custT="1"/>
      <dgm:spPr>
        <a:solidFill>
          <a:srgbClr val="FFC000"/>
        </a:solidFill>
      </dgm:spPr>
      <dgm:t>
        <a:bodyPr/>
        <a:lstStyle/>
        <a:p>
          <a:r>
            <a:rPr lang="pl-PL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Wypadki</a:t>
          </a:r>
        </a:p>
      </dgm:t>
    </dgm:pt>
    <dgm:pt modelId="{68EB77FF-1ED1-41D6-ACDE-BE481AE30584}" type="parTrans" cxnId="{1C21F810-5DC1-4258-9A1E-153DFF670BA7}">
      <dgm:prSet/>
      <dgm:spPr/>
      <dgm:t>
        <a:bodyPr/>
        <a:lstStyle/>
        <a:p>
          <a:endParaRPr lang="pl-PL"/>
        </a:p>
      </dgm:t>
    </dgm:pt>
    <dgm:pt modelId="{F2CDBE7E-A2C9-4E4F-8D2E-D5FBB6020C77}" type="sibTrans" cxnId="{1C21F810-5DC1-4258-9A1E-153DFF670BA7}">
      <dgm:prSet/>
      <dgm:spPr/>
      <dgm:t>
        <a:bodyPr/>
        <a:lstStyle/>
        <a:p>
          <a:endParaRPr lang="pl-PL"/>
        </a:p>
      </dgm:t>
    </dgm:pt>
    <dgm:pt modelId="{39023288-977B-4CE3-945C-897D63552683}">
      <dgm:prSet custT="1"/>
      <dgm:spPr>
        <a:solidFill>
          <a:srgbClr val="FFFF00"/>
        </a:solidFill>
      </dgm:spPr>
      <dgm:t>
        <a:bodyPr/>
        <a:lstStyle/>
        <a:p>
          <a:r>
            <a:rPr lang="pl-PL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Poważne incydenty</a:t>
          </a:r>
        </a:p>
      </dgm:t>
    </dgm:pt>
    <dgm:pt modelId="{D2DB92AF-E37A-469C-BAD9-5CE41197A39B}" type="parTrans" cxnId="{245BDD9C-AA77-4194-954D-E566B955F8B1}">
      <dgm:prSet/>
      <dgm:spPr/>
      <dgm:t>
        <a:bodyPr/>
        <a:lstStyle/>
        <a:p>
          <a:endParaRPr lang="pl-PL"/>
        </a:p>
      </dgm:t>
    </dgm:pt>
    <dgm:pt modelId="{273E63D9-0793-402D-9306-3FEE5855ECA2}" type="sibTrans" cxnId="{245BDD9C-AA77-4194-954D-E566B955F8B1}">
      <dgm:prSet/>
      <dgm:spPr/>
      <dgm:t>
        <a:bodyPr/>
        <a:lstStyle/>
        <a:p>
          <a:endParaRPr lang="pl-PL"/>
        </a:p>
      </dgm:t>
    </dgm:pt>
    <dgm:pt modelId="{DE6F85E2-DE0D-42B8-B0A3-63F00D9A37E2}">
      <dgm:prSet custT="1"/>
      <dgm:spPr>
        <a:solidFill>
          <a:schemeClr val="accent4">
            <a:lumMod val="20000"/>
            <a:lumOff val="80000"/>
          </a:schemeClr>
        </a:solidFill>
      </dgm:spPr>
      <dgm:t>
        <a:bodyPr/>
        <a:lstStyle/>
        <a:p>
          <a:r>
            <a:rPr lang="pl-PL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Pierwsza pomoc</a:t>
          </a:r>
        </a:p>
      </dgm:t>
    </dgm:pt>
    <dgm:pt modelId="{5DA9346A-D216-421D-93A9-5EFA0EF6D2FE}" type="parTrans" cxnId="{51B0C528-891D-4FF5-99E3-91DECBB57AFF}">
      <dgm:prSet/>
      <dgm:spPr/>
      <dgm:t>
        <a:bodyPr/>
        <a:lstStyle/>
        <a:p>
          <a:endParaRPr lang="pl-PL"/>
        </a:p>
      </dgm:t>
    </dgm:pt>
    <dgm:pt modelId="{4911BDB4-00EC-4D1A-B1E7-B447B55D5CA2}" type="sibTrans" cxnId="{51B0C528-891D-4FF5-99E3-91DECBB57AFF}">
      <dgm:prSet/>
      <dgm:spPr/>
      <dgm:t>
        <a:bodyPr/>
        <a:lstStyle/>
        <a:p>
          <a:endParaRPr lang="pl-PL"/>
        </a:p>
      </dgm:t>
    </dgm:pt>
    <dgm:pt modelId="{44D4BB5A-E076-4951-A256-21C31E320857}">
      <dgm:prSet custT="1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pl-PL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Małe incydenty</a:t>
          </a:r>
        </a:p>
      </dgm:t>
    </dgm:pt>
    <dgm:pt modelId="{ACB9BBE3-0C63-4388-95D6-5F6F2339EC81}" type="parTrans" cxnId="{83FE5152-DD44-4F3B-B2F4-1E123FE52016}">
      <dgm:prSet/>
      <dgm:spPr/>
      <dgm:t>
        <a:bodyPr/>
        <a:lstStyle/>
        <a:p>
          <a:endParaRPr lang="pl-PL"/>
        </a:p>
      </dgm:t>
    </dgm:pt>
    <dgm:pt modelId="{B21C0186-6CEF-4160-BFC4-A37D8E828DAA}" type="sibTrans" cxnId="{83FE5152-DD44-4F3B-B2F4-1E123FE52016}">
      <dgm:prSet/>
      <dgm:spPr/>
      <dgm:t>
        <a:bodyPr/>
        <a:lstStyle/>
        <a:p>
          <a:endParaRPr lang="pl-PL"/>
        </a:p>
      </dgm:t>
    </dgm:pt>
    <dgm:pt modelId="{E213B663-D3A6-49FB-9543-B2EF5E6ABF3D}" type="pres">
      <dgm:prSet presAssocID="{362918C6-6303-4F05-A688-FD45E5469573}" presName="Name0" presStyleCnt="0">
        <dgm:presLayoutVars>
          <dgm:dir/>
          <dgm:animLvl val="lvl"/>
          <dgm:resizeHandles val="exact"/>
        </dgm:presLayoutVars>
      </dgm:prSet>
      <dgm:spPr/>
    </dgm:pt>
    <dgm:pt modelId="{BB70CC0D-FCE2-43E9-B9A7-23E70226A621}" type="pres">
      <dgm:prSet presAssocID="{96FF54F7-6569-4BE4-B8BC-5FF58243CBE2}" presName="Name8" presStyleCnt="0"/>
      <dgm:spPr/>
    </dgm:pt>
    <dgm:pt modelId="{CD0ED154-BF6D-4E9E-864C-2516204995BC}" type="pres">
      <dgm:prSet presAssocID="{96FF54F7-6569-4BE4-B8BC-5FF58243CBE2}" presName="level" presStyleLbl="node1" presStyleIdx="0" presStyleCnt="6">
        <dgm:presLayoutVars>
          <dgm:chMax val="1"/>
          <dgm:bulletEnabled val="1"/>
        </dgm:presLayoutVars>
      </dgm:prSet>
      <dgm:spPr/>
    </dgm:pt>
    <dgm:pt modelId="{6879D428-59B1-4AD7-A678-AE5535DE551F}" type="pres">
      <dgm:prSet presAssocID="{96FF54F7-6569-4BE4-B8BC-5FF58243CBE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3C53269-E05B-4090-905C-CEE3448EDD44}" type="pres">
      <dgm:prSet presAssocID="{166A6248-3A1A-4DBF-8EB3-7493D840BA79}" presName="Name8" presStyleCnt="0"/>
      <dgm:spPr/>
    </dgm:pt>
    <dgm:pt modelId="{56E385A8-8B78-49E4-B44A-DBE313A3ED74}" type="pres">
      <dgm:prSet presAssocID="{166A6248-3A1A-4DBF-8EB3-7493D840BA79}" presName="level" presStyleLbl="node1" presStyleIdx="1" presStyleCnt="6">
        <dgm:presLayoutVars>
          <dgm:chMax val="1"/>
          <dgm:bulletEnabled val="1"/>
        </dgm:presLayoutVars>
      </dgm:prSet>
      <dgm:spPr/>
    </dgm:pt>
    <dgm:pt modelId="{C93B3DAF-D0F9-42E9-9BEC-77F5FAB997D7}" type="pres">
      <dgm:prSet presAssocID="{166A6248-3A1A-4DBF-8EB3-7493D840BA79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7F4F5CD-A8C1-4142-8569-7BE0EE7CB7BB}" type="pres">
      <dgm:prSet presAssocID="{39023288-977B-4CE3-945C-897D63552683}" presName="Name8" presStyleCnt="0"/>
      <dgm:spPr/>
    </dgm:pt>
    <dgm:pt modelId="{5D37ED0B-33C5-4205-998D-F4140755BAAC}" type="pres">
      <dgm:prSet presAssocID="{39023288-977B-4CE3-945C-897D63552683}" presName="level" presStyleLbl="node1" presStyleIdx="2" presStyleCnt="6">
        <dgm:presLayoutVars>
          <dgm:chMax val="1"/>
          <dgm:bulletEnabled val="1"/>
        </dgm:presLayoutVars>
      </dgm:prSet>
      <dgm:spPr/>
    </dgm:pt>
    <dgm:pt modelId="{3C19085F-890A-469F-9E46-9DE7D6445541}" type="pres">
      <dgm:prSet presAssocID="{39023288-977B-4CE3-945C-897D63552683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F07340F-0533-4837-8770-848CCB8AD348}" type="pres">
      <dgm:prSet presAssocID="{DE6F85E2-DE0D-42B8-B0A3-63F00D9A37E2}" presName="Name8" presStyleCnt="0"/>
      <dgm:spPr/>
    </dgm:pt>
    <dgm:pt modelId="{1CA79F52-2D6D-437C-A5AF-7E09A2AE096B}" type="pres">
      <dgm:prSet presAssocID="{DE6F85E2-DE0D-42B8-B0A3-63F00D9A37E2}" presName="level" presStyleLbl="node1" presStyleIdx="3" presStyleCnt="6">
        <dgm:presLayoutVars>
          <dgm:chMax val="1"/>
          <dgm:bulletEnabled val="1"/>
        </dgm:presLayoutVars>
      </dgm:prSet>
      <dgm:spPr/>
    </dgm:pt>
    <dgm:pt modelId="{9F121690-0A83-43AD-BAFB-4F91C681A70D}" type="pres">
      <dgm:prSet presAssocID="{DE6F85E2-DE0D-42B8-B0A3-63F00D9A37E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13516A03-E874-4418-A5A6-BA5990AC872E}" type="pres">
      <dgm:prSet presAssocID="{44D4BB5A-E076-4951-A256-21C31E320857}" presName="Name8" presStyleCnt="0"/>
      <dgm:spPr/>
    </dgm:pt>
    <dgm:pt modelId="{FFB664E0-4805-47FB-8746-5F2A174D78BA}" type="pres">
      <dgm:prSet presAssocID="{44D4BB5A-E076-4951-A256-21C31E320857}" presName="level" presStyleLbl="node1" presStyleIdx="4" presStyleCnt="6">
        <dgm:presLayoutVars>
          <dgm:chMax val="1"/>
          <dgm:bulletEnabled val="1"/>
        </dgm:presLayoutVars>
      </dgm:prSet>
      <dgm:spPr/>
    </dgm:pt>
    <dgm:pt modelId="{741F87A4-B860-4DC6-9E38-6C208CBD4FD1}" type="pres">
      <dgm:prSet presAssocID="{44D4BB5A-E076-4951-A256-21C31E32085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2048084B-8597-4D17-B0C0-9B43FCC17A91}" type="pres">
      <dgm:prSet presAssocID="{CE9CBED5-91E4-4234-BE4B-7675226748FB}" presName="Name8" presStyleCnt="0"/>
      <dgm:spPr/>
    </dgm:pt>
    <dgm:pt modelId="{4E15CFAE-4283-4799-9AAF-94D2CFA82576}" type="pres">
      <dgm:prSet presAssocID="{CE9CBED5-91E4-4234-BE4B-7675226748FB}" presName="level" presStyleLbl="node1" presStyleIdx="5" presStyleCnt="6">
        <dgm:presLayoutVars>
          <dgm:chMax val="1"/>
          <dgm:bulletEnabled val="1"/>
        </dgm:presLayoutVars>
      </dgm:prSet>
      <dgm:spPr/>
    </dgm:pt>
    <dgm:pt modelId="{E69C1E6E-CABA-48A8-9241-1DCBE21168EB}" type="pres">
      <dgm:prSet presAssocID="{CE9CBED5-91E4-4234-BE4B-7675226748FB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1C21F810-5DC1-4258-9A1E-153DFF670BA7}" srcId="{362918C6-6303-4F05-A688-FD45E5469573}" destId="{166A6248-3A1A-4DBF-8EB3-7493D840BA79}" srcOrd="1" destOrd="0" parTransId="{68EB77FF-1ED1-41D6-ACDE-BE481AE30584}" sibTransId="{F2CDBE7E-A2C9-4E4F-8D2E-D5FBB6020C77}"/>
    <dgm:cxn modelId="{51B0C528-891D-4FF5-99E3-91DECBB57AFF}" srcId="{362918C6-6303-4F05-A688-FD45E5469573}" destId="{DE6F85E2-DE0D-42B8-B0A3-63F00D9A37E2}" srcOrd="3" destOrd="0" parTransId="{5DA9346A-D216-421D-93A9-5EFA0EF6D2FE}" sibTransId="{4911BDB4-00EC-4D1A-B1E7-B447B55D5CA2}"/>
    <dgm:cxn modelId="{AFFF1F2B-8439-4476-A202-5CABEA8D5491}" type="presOf" srcId="{39023288-977B-4CE3-945C-897D63552683}" destId="{3C19085F-890A-469F-9E46-9DE7D6445541}" srcOrd="1" destOrd="0" presId="urn:microsoft.com/office/officeart/2005/8/layout/pyramid1"/>
    <dgm:cxn modelId="{149E3C2D-955B-4083-82A8-94A74FDC484D}" type="presOf" srcId="{DE6F85E2-DE0D-42B8-B0A3-63F00D9A37E2}" destId="{9F121690-0A83-43AD-BAFB-4F91C681A70D}" srcOrd="1" destOrd="0" presId="urn:microsoft.com/office/officeart/2005/8/layout/pyramid1"/>
    <dgm:cxn modelId="{00A8304E-F17A-443A-9545-8FAD48C5AC48}" type="presOf" srcId="{39023288-977B-4CE3-945C-897D63552683}" destId="{5D37ED0B-33C5-4205-998D-F4140755BAAC}" srcOrd="0" destOrd="0" presId="urn:microsoft.com/office/officeart/2005/8/layout/pyramid1"/>
    <dgm:cxn modelId="{FA77A34E-FBCE-4936-ABEE-F56BD84EDBFE}" type="presOf" srcId="{96FF54F7-6569-4BE4-B8BC-5FF58243CBE2}" destId="{6879D428-59B1-4AD7-A678-AE5535DE551F}" srcOrd="1" destOrd="0" presId="urn:microsoft.com/office/officeart/2005/8/layout/pyramid1"/>
    <dgm:cxn modelId="{548BD870-1891-459C-A35C-779FC98EA8DD}" type="presOf" srcId="{CE9CBED5-91E4-4234-BE4B-7675226748FB}" destId="{E69C1E6E-CABA-48A8-9241-1DCBE21168EB}" srcOrd="1" destOrd="0" presId="urn:microsoft.com/office/officeart/2005/8/layout/pyramid1"/>
    <dgm:cxn modelId="{83FE5152-DD44-4F3B-B2F4-1E123FE52016}" srcId="{362918C6-6303-4F05-A688-FD45E5469573}" destId="{44D4BB5A-E076-4951-A256-21C31E320857}" srcOrd="4" destOrd="0" parTransId="{ACB9BBE3-0C63-4388-95D6-5F6F2339EC81}" sibTransId="{B21C0186-6CEF-4160-BFC4-A37D8E828DAA}"/>
    <dgm:cxn modelId="{5D8F3478-885A-4BF5-BFF9-6531D6659855}" srcId="{362918C6-6303-4F05-A688-FD45E5469573}" destId="{96FF54F7-6569-4BE4-B8BC-5FF58243CBE2}" srcOrd="0" destOrd="0" parTransId="{2B0108F6-968A-4055-91CE-7BBD2374D53B}" sibTransId="{65F58072-7DA1-4C50-807C-2D2D34CCBBE7}"/>
    <dgm:cxn modelId="{24D72680-54C3-45B0-BD47-92026364941E}" type="presOf" srcId="{44D4BB5A-E076-4951-A256-21C31E320857}" destId="{FFB664E0-4805-47FB-8746-5F2A174D78BA}" srcOrd="0" destOrd="0" presId="urn:microsoft.com/office/officeart/2005/8/layout/pyramid1"/>
    <dgm:cxn modelId="{C0A20D99-6FB2-4C57-87D2-D4A92CA184FF}" type="presOf" srcId="{96FF54F7-6569-4BE4-B8BC-5FF58243CBE2}" destId="{CD0ED154-BF6D-4E9E-864C-2516204995BC}" srcOrd="0" destOrd="0" presId="urn:microsoft.com/office/officeart/2005/8/layout/pyramid1"/>
    <dgm:cxn modelId="{245BDD9C-AA77-4194-954D-E566B955F8B1}" srcId="{362918C6-6303-4F05-A688-FD45E5469573}" destId="{39023288-977B-4CE3-945C-897D63552683}" srcOrd="2" destOrd="0" parTransId="{D2DB92AF-E37A-469C-BAD9-5CE41197A39B}" sibTransId="{273E63D9-0793-402D-9306-3FEE5855ECA2}"/>
    <dgm:cxn modelId="{55BC9A9D-0DF6-4C15-B7B9-0406B0C577FE}" srcId="{362918C6-6303-4F05-A688-FD45E5469573}" destId="{CE9CBED5-91E4-4234-BE4B-7675226748FB}" srcOrd="5" destOrd="0" parTransId="{2254BBBE-2A7C-4843-BA4F-5DB95255A4D4}" sibTransId="{7153A0BE-59F5-41C5-8C0D-4F304FE6964C}"/>
    <dgm:cxn modelId="{1331959E-9A91-4867-AD20-2FC64FD6AD42}" type="presOf" srcId="{166A6248-3A1A-4DBF-8EB3-7493D840BA79}" destId="{C93B3DAF-D0F9-42E9-9BEC-77F5FAB997D7}" srcOrd="1" destOrd="0" presId="urn:microsoft.com/office/officeart/2005/8/layout/pyramid1"/>
    <dgm:cxn modelId="{DF00E1A1-4C40-4AA2-B04B-43A922D94332}" type="presOf" srcId="{44D4BB5A-E076-4951-A256-21C31E320857}" destId="{741F87A4-B860-4DC6-9E38-6C208CBD4FD1}" srcOrd="1" destOrd="0" presId="urn:microsoft.com/office/officeart/2005/8/layout/pyramid1"/>
    <dgm:cxn modelId="{8ACA95C3-D2B5-48FF-8A0A-5FEFB3DF6032}" type="presOf" srcId="{CE9CBED5-91E4-4234-BE4B-7675226748FB}" destId="{4E15CFAE-4283-4799-9AAF-94D2CFA82576}" srcOrd="0" destOrd="0" presId="urn:microsoft.com/office/officeart/2005/8/layout/pyramid1"/>
    <dgm:cxn modelId="{CC0E6AD1-D1A4-446F-BB44-5E2D66CFE959}" type="presOf" srcId="{166A6248-3A1A-4DBF-8EB3-7493D840BA79}" destId="{56E385A8-8B78-49E4-B44A-DBE313A3ED74}" srcOrd="0" destOrd="0" presId="urn:microsoft.com/office/officeart/2005/8/layout/pyramid1"/>
    <dgm:cxn modelId="{50BA1AFD-35D9-42BB-AEEB-CCB29FACEE0C}" type="presOf" srcId="{362918C6-6303-4F05-A688-FD45E5469573}" destId="{E213B663-D3A6-49FB-9543-B2EF5E6ABF3D}" srcOrd="0" destOrd="0" presId="urn:microsoft.com/office/officeart/2005/8/layout/pyramid1"/>
    <dgm:cxn modelId="{E18E27FE-E51D-4609-8400-D05C6F3D16D2}" type="presOf" srcId="{DE6F85E2-DE0D-42B8-B0A3-63F00D9A37E2}" destId="{1CA79F52-2D6D-437C-A5AF-7E09A2AE096B}" srcOrd="0" destOrd="0" presId="urn:microsoft.com/office/officeart/2005/8/layout/pyramid1"/>
    <dgm:cxn modelId="{DE89FAE1-F293-46D7-8D86-1405954EBAFF}" type="presParOf" srcId="{E213B663-D3A6-49FB-9543-B2EF5E6ABF3D}" destId="{BB70CC0D-FCE2-43E9-B9A7-23E70226A621}" srcOrd="0" destOrd="0" presId="urn:microsoft.com/office/officeart/2005/8/layout/pyramid1"/>
    <dgm:cxn modelId="{82BC0B14-5E99-4EE8-950A-3CB845DD0580}" type="presParOf" srcId="{BB70CC0D-FCE2-43E9-B9A7-23E70226A621}" destId="{CD0ED154-BF6D-4E9E-864C-2516204995BC}" srcOrd="0" destOrd="0" presId="urn:microsoft.com/office/officeart/2005/8/layout/pyramid1"/>
    <dgm:cxn modelId="{9740B023-D999-4B7C-823C-BD6936A9B394}" type="presParOf" srcId="{BB70CC0D-FCE2-43E9-B9A7-23E70226A621}" destId="{6879D428-59B1-4AD7-A678-AE5535DE551F}" srcOrd="1" destOrd="0" presId="urn:microsoft.com/office/officeart/2005/8/layout/pyramid1"/>
    <dgm:cxn modelId="{1F8D15B8-5F32-4F79-B013-85F5C1CAFEC4}" type="presParOf" srcId="{E213B663-D3A6-49FB-9543-B2EF5E6ABF3D}" destId="{B3C53269-E05B-4090-905C-CEE3448EDD44}" srcOrd="1" destOrd="0" presId="urn:microsoft.com/office/officeart/2005/8/layout/pyramid1"/>
    <dgm:cxn modelId="{83966963-2E88-4E67-9900-1F13FAFB6ADB}" type="presParOf" srcId="{B3C53269-E05B-4090-905C-CEE3448EDD44}" destId="{56E385A8-8B78-49E4-B44A-DBE313A3ED74}" srcOrd="0" destOrd="0" presId="urn:microsoft.com/office/officeart/2005/8/layout/pyramid1"/>
    <dgm:cxn modelId="{FAD7C017-35AF-4C94-8F73-27B45B7B05DB}" type="presParOf" srcId="{B3C53269-E05B-4090-905C-CEE3448EDD44}" destId="{C93B3DAF-D0F9-42E9-9BEC-77F5FAB997D7}" srcOrd="1" destOrd="0" presId="urn:microsoft.com/office/officeart/2005/8/layout/pyramid1"/>
    <dgm:cxn modelId="{87EF2086-CC7E-40F3-B0F5-353463E09A28}" type="presParOf" srcId="{E213B663-D3A6-49FB-9543-B2EF5E6ABF3D}" destId="{77F4F5CD-A8C1-4142-8569-7BE0EE7CB7BB}" srcOrd="2" destOrd="0" presId="urn:microsoft.com/office/officeart/2005/8/layout/pyramid1"/>
    <dgm:cxn modelId="{B05E1EE9-CBDC-46B3-98C1-05168325A419}" type="presParOf" srcId="{77F4F5CD-A8C1-4142-8569-7BE0EE7CB7BB}" destId="{5D37ED0B-33C5-4205-998D-F4140755BAAC}" srcOrd="0" destOrd="0" presId="urn:microsoft.com/office/officeart/2005/8/layout/pyramid1"/>
    <dgm:cxn modelId="{D3EB5BAA-7C94-43AA-B857-D038DD9FE760}" type="presParOf" srcId="{77F4F5CD-A8C1-4142-8569-7BE0EE7CB7BB}" destId="{3C19085F-890A-469F-9E46-9DE7D6445541}" srcOrd="1" destOrd="0" presId="urn:microsoft.com/office/officeart/2005/8/layout/pyramid1"/>
    <dgm:cxn modelId="{B0692E36-7C7E-44D2-916A-9EA9C94A1B28}" type="presParOf" srcId="{E213B663-D3A6-49FB-9543-B2EF5E6ABF3D}" destId="{0F07340F-0533-4837-8770-848CCB8AD348}" srcOrd="3" destOrd="0" presId="urn:microsoft.com/office/officeart/2005/8/layout/pyramid1"/>
    <dgm:cxn modelId="{8427D21B-F8FA-4691-B02D-BDF70D22C249}" type="presParOf" srcId="{0F07340F-0533-4837-8770-848CCB8AD348}" destId="{1CA79F52-2D6D-437C-A5AF-7E09A2AE096B}" srcOrd="0" destOrd="0" presId="urn:microsoft.com/office/officeart/2005/8/layout/pyramid1"/>
    <dgm:cxn modelId="{115AAA0E-3BD9-4680-8780-C1C131B8A788}" type="presParOf" srcId="{0F07340F-0533-4837-8770-848CCB8AD348}" destId="{9F121690-0A83-43AD-BAFB-4F91C681A70D}" srcOrd="1" destOrd="0" presId="urn:microsoft.com/office/officeart/2005/8/layout/pyramid1"/>
    <dgm:cxn modelId="{C3D1B50A-2D65-4A1E-903E-F851CBFBEA43}" type="presParOf" srcId="{E213B663-D3A6-49FB-9543-B2EF5E6ABF3D}" destId="{13516A03-E874-4418-A5A6-BA5990AC872E}" srcOrd="4" destOrd="0" presId="urn:microsoft.com/office/officeart/2005/8/layout/pyramid1"/>
    <dgm:cxn modelId="{CBBC135D-D415-413C-81D6-F7B7BD89FC2E}" type="presParOf" srcId="{13516A03-E874-4418-A5A6-BA5990AC872E}" destId="{FFB664E0-4805-47FB-8746-5F2A174D78BA}" srcOrd="0" destOrd="0" presId="urn:microsoft.com/office/officeart/2005/8/layout/pyramid1"/>
    <dgm:cxn modelId="{F8A23262-57BF-4136-B6FE-2BBA1F677A60}" type="presParOf" srcId="{13516A03-E874-4418-A5A6-BA5990AC872E}" destId="{741F87A4-B860-4DC6-9E38-6C208CBD4FD1}" srcOrd="1" destOrd="0" presId="urn:microsoft.com/office/officeart/2005/8/layout/pyramid1"/>
    <dgm:cxn modelId="{F2C92B24-AA76-41D5-A639-999C4C608554}" type="presParOf" srcId="{E213B663-D3A6-49FB-9543-B2EF5E6ABF3D}" destId="{2048084B-8597-4D17-B0C0-9B43FCC17A91}" srcOrd="5" destOrd="0" presId="urn:microsoft.com/office/officeart/2005/8/layout/pyramid1"/>
    <dgm:cxn modelId="{076CD17A-6BF0-4A30-8077-FD221BA150D3}" type="presParOf" srcId="{2048084B-8597-4D17-B0C0-9B43FCC17A91}" destId="{4E15CFAE-4283-4799-9AAF-94D2CFA82576}" srcOrd="0" destOrd="0" presId="urn:microsoft.com/office/officeart/2005/8/layout/pyramid1"/>
    <dgm:cxn modelId="{774DFBC2-221B-4DD3-8946-BB1748D17927}" type="presParOf" srcId="{2048084B-8597-4D17-B0C0-9B43FCC17A91}" destId="{E69C1E6E-CABA-48A8-9241-1DCBE21168E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610F70-20BB-4FAD-BFEB-5C11A797390E}">
      <dsp:nvSpPr>
        <dsp:cNvPr id="0" name=""/>
        <dsp:cNvSpPr/>
      </dsp:nvSpPr>
      <dsp:spPr>
        <a:xfrm>
          <a:off x="4002881" y="1638772"/>
          <a:ext cx="266608" cy="8709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70994"/>
              </a:lnTo>
              <a:lnTo>
                <a:pt x="266608" y="870994"/>
              </a:lnTo>
            </a:path>
          </a:pathLst>
        </a:custGeom>
        <a:noFill/>
        <a:ln w="12700" cap="flat" cmpd="sng" algn="ctr">
          <a:solidFill>
            <a:srgbClr val="D9DF2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48FCEFC-028A-48C7-9D12-4E5D98C5E42C}">
      <dsp:nvSpPr>
        <dsp:cNvPr id="0" name=""/>
        <dsp:cNvSpPr/>
      </dsp:nvSpPr>
      <dsp:spPr>
        <a:xfrm>
          <a:off x="3736273" y="1638772"/>
          <a:ext cx="266608" cy="870994"/>
        </a:xfrm>
        <a:custGeom>
          <a:avLst/>
          <a:gdLst/>
          <a:ahLst/>
          <a:cxnLst/>
          <a:rect l="0" t="0" r="0" b="0"/>
          <a:pathLst>
            <a:path>
              <a:moveTo>
                <a:pt x="266608" y="0"/>
              </a:moveTo>
              <a:lnTo>
                <a:pt x="266608" y="870994"/>
              </a:lnTo>
              <a:lnTo>
                <a:pt x="0" y="870994"/>
              </a:lnTo>
            </a:path>
          </a:pathLst>
        </a:custGeom>
        <a:noFill/>
        <a:ln w="12700" cap="flat" cmpd="sng" algn="ctr">
          <a:solidFill>
            <a:srgbClr val="D9DF2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3C4242-E156-4DA9-8F7B-1117E238912B}">
      <dsp:nvSpPr>
        <dsp:cNvPr id="0" name=""/>
        <dsp:cNvSpPr/>
      </dsp:nvSpPr>
      <dsp:spPr>
        <a:xfrm>
          <a:off x="4002881" y="1638772"/>
          <a:ext cx="3141101" cy="17419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53423"/>
              </a:lnTo>
              <a:lnTo>
                <a:pt x="3141101" y="1553423"/>
              </a:lnTo>
              <a:lnTo>
                <a:pt x="3141101" y="1741989"/>
              </a:lnTo>
            </a:path>
          </a:pathLst>
        </a:custGeom>
        <a:noFill/>
        <a:ln w="12700" cap="flat" cmpd="sng" algn="ctr">
          <a:solidFill>
            <a:srgbClr val="6DCFF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9BEC2C4-B325-41BE-B6A3-32A403AC7170}">
      <dsp:nvSpPr>
        <dsp:cNvPr id="0" name=""/>
        <dsp:cNvSpPr/>
      </dsp:nvSpPr>
      <dsp:spPr>
        <a:xfrm>
          <a:off x="4002881" y="1638772"/>
          <a:ext cx="1047033" cy="17419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53423"/>
              </a:lnTo>
              <a:lnTo>
                <a:pt x="1047033" y="1553423"/>
              </a:lnTo>
              <a:lnTo>
                <a:pt x="1047033" y="1741989"/>
              </a:lnTo>
            </a:path>
          </a:pathLst>
        </a:custGeom>
        <a:noFill/>
        <a:ln w="12700" cap="flat" cmpd="sng" algn="ctr">
          <a:solidFill>
            <a:srgbClr val="6DCFF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3DB9741-7B59-4ADE-BF50-1A5B17A8CE3F}">
      <dsp:nvSpPr>
        <dsp:cNvPr id="0" name=""/>
        <dsp:cNvSpPr/>
      </dsp:nvSpPr>
      <dsp:spPr>
        <a:xfrm>
          <a:off x="2955847" y="1638772"/>
          <a:ext cx="1047033" cy="1741989"/>
        </a:xfrm>
        <a:custGeom>
          <a:avLst/>
          <a:gdLst/>
          <a:ahLst/>
          <a:cxnLst/>
          <a:rect l="0" t="0" r="0" b="0"/>
          <a:pathLst>
            <a:path>
              <a:moveTo>
                <a:pt x="1047033" y="0"/>
              </a:moveTo>
              <a:lnTo>
                <a:pt x="1047033" y="1553423"/>
              </a:lnTo>
              <a:lnTo>
                <a:pt x="0" y="1553423"/>
              </a:lnTo>
              <a:lnTo>
                <a:pt x="0" y="1741989"/>
              </a:lnTo>
            </a:path>
          </a:pathLst>
        </a:custGeom>
        <a:noFill/>
        <a:ln w="12700" cap="flat" cmpd="sng" algn="ctr">
          <a:solidFill>
            <a:srgbClr val="6DCFF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9224BE-71E0-4F45-A79C-E181B98D93BE}">
      <dsp:nvSpPr>
        <dsp:cNvPr id="0" name=""/>
        <dsp:cNvSpPr/>
      </dsp:nvSpPr>
      <dsp:spPr>
        <a:xfrm>
          <a:off x="861779" y="1638772"/>
          <a:ext cx="3141101" cy="1741989"/>
        </a:xfrm>
        <a:custGeom>
          <a:avLst/>
          <a:gdLst/>
          <a:ahLst/>
          <a:cxnLst/>
          <a:rect l="0" t="0" r="0" b="0"/>
          <a:pathLst>
            <a:path>
              <a:moveTo>
                <a:pt x="3141101" y="0"/>
              </a:moveTo>
              <a:lnTo>
                <a:pt x="3141101" y="1553423"/>
              </a:lnTo>
              <a:lnTo>
                <a:pt x="0" y="1553423"/>
              </a:lnTo>
              <a:lnTo>
                <a:pt x="0" y="1741989"/>
              </a:lnTo>
            </a:path>
          </a:pathLst>
        </a:custGeom>
        <a:noFill/>
        <a:ln w="12700" cap="flat" cmpd="sng" algn="ctr">
          <a:solidFill>
            <a:srgbClr val="6DCFF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ECC0AD-5679-47BB-8159-686619419F49}">
      <dsp:nvSpPr>
        <dsp:cNvPr id="0" name=""/>
        <dsp:cNvSpPr/>
      </dsp:nvSpPr>
      <dsp:spPr>
        <a:xfrm>
          <a:off x="3222455" y="830632"/>
          <a:ext cx="1560851" cy="808139"/>
        </a:xfrm>
        <a:prstGeom prst="rect">
          <a:avLst/>
        </a:prstGeom>
        <a:solidFill>
          <a:srgbClr val="A6A7A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4037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solidFill>
                <a:srgbClr val="000000"/>
              </a:solidFill>
              <a:latin typeface="Arial"/>
              <a:cs typeface="Arial"/>
            </a:rPr>
            <a:t>SPM/PM</a:t>
          </a:r>
        </a:p>
      </dsp:txBody>
      <dsp:txXfrm>
        <a:off x="3222455" y="830632"/>
        <a:ext cx="1560851" cy="808139"/>
      </dsp:txXfrm>
    </dsp:sp>
    <dsp:sp modelId="{0FF21C90-A7FA-40DF-BAF1-07732493166F}">
      <dsp:nvSpPr>
        <dsp:cNvPr id="0" name=""/>
        <dsp:cNvSpPr/>
      </dsp:nvSpPr>
      <dsp:spPr>
        <a:xfrm>
          <a:off x="3534626" y="1459185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kern="1200" dirty="0">
              <a:latin typeface="Arial" pitchFamily="34" charset="0"/>
              <a:cs typeface="Arial" pitchFamily="34" charset="0"/>
            </a:rPr>
            <a:t>zdjęcie</a:t>
          </a:r>
        </a:p>
      </dsp:txBody>
      <dsp:txXfrm>
        <a:off x="3534626" y="1459185"/>
        <a:ext cx="1404765" cy="269379"/>
      </dsp:txXfrm>
    </dsp:sp>
    <dsp:sp modelId="{F725E242-9FB8-4564-98BE-C2B511EDB45A}">
      <dsp:nvSpPr>
        <dsp:cNvPr id="0" name=""/>
        <dsp:cNvSpPr/>
      </dsp:nvSpPr>
      <dsp:spPr>
        <a:xfrm>
          <a:off x="81353" y="3380761"/>
          <a:ext cx="1560851" cy="808139"/>
        </a:xfrm>
        <a:prstGeom prst="rect">
          <a:avLst/>
        </a:prstGeom>
        <a:solidFill>
          <a:srgbClr val="6DCFF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4037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Kierownik Robót </a:t>
          </a:r>
        </a:p>
      </dsp:txBody>
      <dsp:txXfrm>
        <a:off x="81353" y="3380761"/>
        <a:ext cx="1560851" cy="808139"/>
      </dsp:txXfrm>
    </dsp:sp>
    <dsp:sp modelId="{16101845-A618-4356-91EB-A156721F3E34}">
      <dsp:nvSpPr>
        <dsp:cNvPr id="0" name=""/>
        <dsp:cNvSpPr/>
      </dsp:nvSpPr>
      <dsp:spPr>
        <a:xfrm>
          <a:off x="393524" y="4009314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kern="1200" dirty="0">
              <a:latin typeface="Arial" pitchFamily="34" charset="0"/>
              <a:cs typeface="Arial" pitchFamily="34" charset="0"/>
            </a:rPr>
            <a:t>zdjęcie</a:t>
          </a:r>
        </a:p>
      </dsp:txBody>
      <dsp:txXfrm>
        <a:off x="393524" y="4009314"/>
        <a:ext cx="1404765" cy="269379"/>
      </dsp:txXfrm>
    </dsp:sp>
    <dsp:sp modelId="{D36C0C50-F574-489F-9CF8-A189F70435B3}">
      <dsp:nvSpPr>
        <dsp:cNvPr id="0" name=""/>
        <dsp:cNvSpPr/>
      </dsp:nvSpPr>
      <dsp:spPr>
        <a:xfrm>
          <a:off x="2175421" y="3380761"/>
          <a:ext cx="1560851" cy="808139"/>
        </a:xfrm>
        <a:prstGeom prst="rect">
          <a:avLst/>
        </a:prstGeom>
        <a:solidFill>
          <a:srgbClr val="6DCFF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4037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Koordynator BHP i OŚ</a:t>
          </a:r>
        </a:p>
      </dsp:txBody>
      <dsp:txXfrm>
        <a:off x="2175421" y="3380761"/>
        <a:ext cx="1560851" cy="808139"/>
      </dsp:txXfrm>
    </dsp:sp>
    <dsp:sp modelId="{84EE05FD-350F-4672-B015-8E706D408ED4}">
      <dsp:nvSpPr>
        <dsp:cNvPr id="0" name=""/>
        <dsp:cNvSpPr/>
      </dsp:nvSpPr>
      <dsp:spPr>
        <a:xfrm>
          <a:off x="2487592" y="4009314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kern="1200" dirty="0">
              <a:latin typeface="Arial" pitchFamily="34" charset="0"/>
              <a:cs typeface="Arial" pitchFamily="34" charset="0"/>
            </a:rPr>
            <a:t>zdjęcie</a:t>
          </a:r>
        </a:p>
      </dsp:txBody>
      <dsp:txXfrm>
        <a:off x="2487592" y="4009314"/>
        <a:ext cx="1404765" cy="269379"/>
      </dsp:txXfrm>
    </dsp:sp>
    <dsp:sp modelId="{7002CCBE-21D2-4CC1-92D0-DB50FC31FD4A}">
      <dsp:nvSpPr>
        <dsp:cNvPr id="0" name=""/>
        <dsp:cNvSpPr/>
      </dsp:nvSpPr>
      <dsp:spPr>
        <a:xfrm>
          <a:off x="4269489" y="3380761"/>
          <a:ext cx="1560851" cy="808139"/>
        </a:xfrm>
        <a:prstGeom prst="rect">
          <a:avLst/>
        </a:prstGeom>
        <a:solidFill>
          <a:srgbClr val="6DCFF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4037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…..</a:t>
          </a:r>
        </a:p>
      </dsp:txBody>
      <dsp:txXfrm>
        <a:off x="4269489" y="3380761"/>
        <a:ext cx="1560851" cy="808139"/>
      </dsp:txXfrm>
    </dsp:sp>
    <dsp:sp modelId="{5A577F11-7776-4E5E-8CA0-1333284000E6}">
      <dsp:nvSpPr>
        <dsp:cNvPr id="0" name=""/>
        <dsp:cNvSpPr/>
      </dsp:nvSpPr>
      <dsp:spPr>
        <a:xfrm>
          <a:off x="4581660" y="4009314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180" tIns="10795" rIns="43180" bIns="10795" numCol="1" spcCol="1270" anchor="ctr" anchorCtr="0">
          <a:noAutofit/>
        </a:bodyPr>
        <a:lstStyle/>
        <a:p>
          <a:pPr marL="0" lvl="0" indent="0" algn="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l-PL" sz="1700" kern="1200"/>
        </a:p>
      </dsp:txBody>
      <dsp:txXfrm>
        <a:off x="4581660" y="4009314"/>
        <a:ext cx="1404765" cy="269379"/>
      </dsp:txXfrm>
    </dsp:sp>
    <dsp:sp modelId="{F7FC3F3F-D80F-42DE-9DA1-223FFE0E12C5}">
      <dsp:nvSpPr>
        <dsp:cNvPr id="0" name=""/>
        <dsp:cNvSpPr/>
      </dsp:nvSpPr>
      <dsp:spPr>
        <a:xfrm>
          <a:off x="6363557" y="3380761"/>
          <a:ext cx="1560851" cy="808139"/>
        </a:xfrm>
        <a:prstGeom prst="rect">
          <a:avLst/>
        </a:prstGeom>
        <a:solidFill>
          <a:srgbClr val="6DCFF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845" tIns="29845" rIns="29845" bIns="114037" numCol="1" spcCol="1270" anchor="ctr" anchorCtr="0">
          <a:noAutofit/>
        </a:bodyPr>
        <a:lstStyle/>
        <a:p>
          <a:pPr marL="0" lvl="0" indent="0" algn="ctr" defTabSz="2089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l-PL" sz="4700" kern="1200" dirty="0"/>
        </a:p>
      </dsp:txBody>
      <dsp:txXfrm>
        <a:off x="6363557" y="3380761"/>
        <a:ext cx="1560851" cy="808139"/>
      </dsp:txXfrm>
    </dsp:sp>
    <dsp:sp modelId="{BFDC359B-BA27-41CE-BC14-D48F6F75CB90}">
      <dsp:nvSpPr>
        <dsp:cNvPr id="0" name=""/>
        <dsp:cNvSpPr/>
      </dsp:nvSpPr>
      <dsp:spPr>
        <a:xfrm>
          <a:off x="6675728" y="4009314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180" tIns="10795" rIns="43180" bIns="10795" numCol="1" spcCol="1270" anchor="ctr" anchorCtr="0">
          <a:noAutofit/>
        </a:bodyPr>
        <a:lstStyle/>
        <a:p>
          <a:pPr marL="0" lvl="0" indent="0" algn="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l-PL" sz="1700" kern="1200"/>
        </a:p>
      </dsp:txBody>
      <dsp:txXfrm>
        <a:off x="6675728" y="4009314"/>
        <a:ext cx="1404765" cy="269379"/>
      </dsp:txXfrm>
    </dsp:sp>
    <dsp:sp modelId="{5A99F425-1EA9-4A3E-B2C9-D0FA38928DB8}">
      <dsp:nvSpPr>
        <dsp:cNvPr id="0" name=""/>
        <dsp:cNvSpPr/>
      </dsp:nvSpPr>
      <dsp:spPr>
        <a:xfrm>
          <a:off x="2175421" y="2105697"/>
          <a:ext cx="1560851" cy="808139"/>
        </a:xfrm>
        <a:prstGeom prst="rect">
          <a:avLst/>
        </a:prstGeom>
        <a:solidFill>
          <a:srgbClr val="D9DF2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4037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Dyrektor Budowy</a:t>
          </a:r>
        </a:p>
      </dsp:txBody>
      <dsp:txXfrm>
        <a:off x="2175421" y="2105697"/>
        <a:ext cx="1560851" cy="808139"/>
      </dsp:txXfrm>
    </dsp:sp>
    <dsp:sp modelId="{1D06D778-9725-49BB-8FC5-325057DE3AC3}">
      <dsp:nvSpPr>
        <dsp:cNvPr id="0" name=""/>
        <dsp:cNvSpPr/>
      </dsp:nvSpPr>
      <dsp:spPr>
        <a:xfrm>
          <a:off x="2487592" y="2734250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kern="1200" dirty="0">
              <a:latin typeface="Arial" pitchFamily="34" charset="0"/>
              <a:cs typeface="Arial" pitchFamily="34" charset="0"/>
            </a:rPr>
            <a:t>zdjęcie</a:t>
          </a:r>
        </a:p>
      </dsp:txBody>
      <dsp:txXfrm>
        <a:off x="2487592" y="2734250"/>
        <a:ext cx="1404765" cy="269379"/>
      </dsp:txXfrm>
    </dsp:sp>
    <dsp:sp modelId="{13D0C237-A8B2-43D0-AD6E-1742C4806465}">
      <dsp:nvSpPr>
        <dsp:cNvPr id="0" name=""/>
        <dsp:cNvSpPr/>
      </dsp:nvSpPr>
      <dsp:spPr>
        <a:xfrm>
          <a:off x="4269489" y="2105697"/>
          <a:ext cx="1560851" cy="808139"/>
        </a:xfrm>
        <a:prstGeom prst="rect">
          <a:avLst/>
        </a:prstGeom>
        <a:solidFill>
          <a:srgbClr val="D9DF2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4037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Kierownik Budowy</a:t>
          </a:r>
        </a:p>
      </dsp:txBody>
      <dsp:txXfrm>
        <a:off x="4269489" y="2105697"/>
        <a:ext cx="1560851" cy="808139"/>
      </dsp:txXfrm>
    </dsp:sp>
    <dsp:sp modelId="{8CB5E423-F550-4019-871F-B5E118A5177B}">
      <dsp:nvSpPr>
        <dsp:cNvPr id="0" name=""/>
        <dsp:cNvSpPr/>
      </dsp:nvSpPr>
      <dsp:spPr>
        <a:xfrm>
          <a:off x="4581660" y="2734250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kern="1200" dirty="0">
              <a:latin typeface="Arial" pitchFamily="34" charset="0"/>
              <a:cs typeface="Arial" pitchFamily="34" charset="0"/>
            </a:rPr>
            <a:t>zdjęcie</a:t>
          </a:r>
        </a:p>
      </dsp:txBody>
      <dsp:txXfrm>
        <a:off x="4581660" y="2734250"/>
        <a:ext cx="1404765" cy="26937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0ED154-BF6D-4E9E-864C-2516204995BC}">
      <dsp:nvSpPr>
        <dsp:cNvPr id="0" name=""/>
        <dsp:cNvSpPr/>
      </dsp:nvSpPr>
      <dsp:spPr>
        <a:xfrm>
          <a:off x="2516372" y="0"/>
          <a:ext cx="1006548" cy="796227"/>
        </a:xfrm>
        <a:prstGeom prst="trapezoid">
          <a:avLst>
            <a:gd name="adj" fmla="val 63207"/>
          </a:avLst>
        </a:prstGeom>
        <a:solidFill>
          <a:srgbClr val="FF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Wypadki śmiertelne</a:t>
          </a:r>
        </a:p>
      </dsp:txBody>
      <dsp:txXfrm>
        <a:off x="2516372" y="0"/>
        <a:ext cx="1006548" cy="796227"/>
      </dsp:txXfrm>
    </dsp:sp>
    <dsp:sp modelId="{56E385A8-8B78-49E4-B44A-DBE313A3ED74}">
      <dsp:nvSpPr>
        <dsp:cNvPr id="0" name=""/>
        <dsp:cNvSpPr/>
      </dsp:nvSpPr>
      <dsp:spPr>
        <a:xfrm>
          <a:off x="2013097" y="796227"/>
          <a:ext cx="2013097" cy="796227"/>
        </a:xfrm>
        <a:prstGeom prst="trapezoid">
          <a:avLst>
            <a:gd name="adj" fmla="val 63207"/>
          </a:avLst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Wypadki</a:t>
          </a:r>
        </a:p>
      </dsp:txBody>
      <dsp:txXfrm>
        <a:off x="2365389" y="796227"/>
        <a:ext cx="1308513" cy="796227"/>
      </dsp:txXfrm>
    </dsp:sp>
    <dsp:sp modelId="{5D37ED0B-33C5-4205-998D-F4140755BAAC}">
      <dsp:nvSpPr>
        <dsp:cNvPr id="0" name=""/>
        <dsp:cNvSpPr/>
      </dsp:nvSpPr>
      <dsp:spPr>
        <a:xfrm>
          <a:off x="1509823" y="1592455"/>
          <a:ext cx="3019646" cy="796227"/>
        </a:xfrm>
        <a:prstGeom prst="trapezoid">
          <a:avLst>
            <a:gd name="adj" fmla="val 63207"/>
          </a:avLst>
        </a:prstGeom>
        <a:solidFill>
          <a:srgbClr val="FFFF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Poważne incydenty</a:t>
          </a:r>
        </a:p>
      </dsp:txBody>
      <dsp:txXfrm>
        <a:off x="2038261" y="1592455"/>
        <a:ext cx="1962770" cy="796227"/>
      </dsp:txXfrm>
    </dsp:sp>
    <dsp:sp modelId="{1CA79F52-2D6D-437C-A5AF-7E09A2AE096B}">
      <dsp:nvSpPr>
        <dsp:cNvPr id="0" name=""/>
        <dsp:cNvSpPr/>
      </dsp:nvSpPr>
      <dsp:spPr>
        <a:xfrm>
          <a:off x="1006548" y="2388683"/>
          <a:ext cx="4026195" cy="796227"/>
        </a:xfrm>
        <a:prstGeom prst="trapezoid">
          <a:avLst>
            <a:gd name="adj" fmla="val 63207"/>
          </a:avLst>
        </a:prstGeom>
        <a:solidFill>
          <a:schemeClr val="accent4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Pierwsza pomoc</a:t>
          </a:r>
        </a:p>
      </dsp:txBody>
      <dsp:txXfrm>
        <a:off x="1711133" y="2388683"/>
        <a:ext cx="2617026" cy="796227"/>
      </dsp:txXfrm>
    </dsp:sp>
    <dsp:sp modelId="{FFB664E0-4805-47FB-8746-5F2A174D78BA}">
      <dsp:nvSpPr>
        <dsp:cNvPr id="0" name=""/>
        <dsp:cNvSpPr/>
      </dsp:nvSpPr>
      <dsp:spPr>
        <a:xfrm>
          <a:off x="503274" y="3184910"/>
          <a:ext cx="5032744" cy="796227"/>
        </a:xfrm>
        <a:prstGeom prst="trapezoid">
          <a:avLst>
            <a:gd name="adj" fmla="val 63207"/>
          </a:avLst>
        </a:prstGeom>
        <a:solidFill>
          <a:schemeClr val="accent4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Małe incydenty</a:t>
          </a:r>
        </a:p>
      </dsp:txBody>
      <dsp:txXfrm>
        <a:off x="1384004" y="3184910"/>
        <a:ext cx="3271283" cy="796227"/>
      </dsp:txXfrm>
    </dsp:sp>
    <dsp:sp modelId="{4E15CFAE-4283-4799-9AAF-94D2CFA82576}">
      <dsp:nvSpPr>
        <dsp:cNvPr id="0" name=""/>
        <dsp:cNvSpPr/>
      </dsp:nvSpPr>
      <dsp:spPr>
        <a:xfrm>
          <a:off x="0" y="3981138"/>
          <a:ext cx="6039293" cy="796227"/>
        </a:xfrm>
        <a:prstGeom prst="trapezoid">
          <a:avLst>
            <a:gd name="adj" fmla="val 63207"/>
          </a:avLst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Obserwacje</a:t>
          </a:r>
        </a:p>
      </dsp:txBody>
      <dsp:txXfrm>
        <a:off x="1056876" y="3981138"/>
        <a:ext cx="3925540" cy="79622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4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11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15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2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>
            <a:extLst>
              <a:ext uri="{FF2B5EF4-FFF2-40B4-BE49-F238E27FC236}">
                <a16:creationId xmlns:a16="http://schemas.microsoft.com/office/drawing/2014/main" id="{A683CA7A-B15B-4D36-ACEF-BC1EAC1CC6F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pl-PL"/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C5D8696E-C98F-4759-93FF-F832A2CD3F6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8892A948-80D2-43B6-8CBC-EF05D023E729}" type="datetimeFigureOut">
              <a:rPr lang="pl-PL" smtClean="0"/>
              <a:pPr/>
              <a:t>2025-02-03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8863D0B3-EC21-4910-85FD-389D3331D12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D21D070F-6F4D-4F85-80F7-A33ACF8E5B8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4D4CCA57-B563-4AA6-A7AF-4B0F04E7DB5B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811963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0D026FDC-65C1-4477-ABDA-003A4795EB49}" type="datetimeFigureOut">
              <a:rPr lang="pl-PL" smtClean="0"/>
              <a:pPr/>
              <a:t>2025-02-03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CDFFC7B1-BD89-496E-B6F2-1602761110C0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279349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90752">
              <a:defRPr/>
            </a:pPr>
            <a:fld id="{B05C5665-B514-4CAA-9EC9-410A32F798C0}" type="slidenum">
              <a:rPr lang="pl-PL">
                <a:solidFill>
                  <a:prstClr val="black"/>
                </a:solidFill>
                <a:latin typeface="Calibri" panose="020F0502020204030204"/>
              </a:rPr>
              <a:pPr defTabSz="990752">
                <a:defRPr/>
              </a:pPr>
              <a:t>1</a:t>
            </a:fld>
            <a:endParaRPr lang="pl-PL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7943518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Nie zbliżamy się do miejsca wykonywania prac z otwartym ogniem np. zgrzewanie papy.</a:t>
            </a:r>
          </a:p>
          <a:p>
            <a:r>
              <a:rPr lang="pl-PL" dirty="0"/>
              <a:t>Nie dotykamy sprzętu i materiałów (mogą być gorące)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1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572429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Nie dotykamy urządzeń pod napięciem.</a:t>
            </a:r>
          </a:p>
          <a:p>
            <a:r>
              <a:rPr lang="pl-PL" dirty="0"/>
              <a:t>Nie otwieramy rozdzielnic RB.</a:t>
            </a:r>
          </a:p>
          <a:p>
            <a:r>
              <a:rPr lang="pl-PL" dirty="0"/>
              <a:t>Uwaga na kable, patrzymy pod nogi podczas poruszania się po budowie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1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490345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Nie dotykamy pojemników z substancjami niebezpiecznymi.</a:t>
            </a:r>
          </a:p>
          <a:p>
            <a:r>
              <a:rPr lang="pl-PL" dirty="0"/>
              <a:t>Nie wchodzimy w strefy szczególnego narażenia oparami substancji niebezpiecznych (np. żywica w garażu – jeżeli występuje)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1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738774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Proszę zgłosić do nadzoru wszystkie obserwacje BHP oraz zdarzenia wypadkowe oraz potencjalnie wypadkowe zaobserwowane podczas wizyty.</a:t>
            </a:r>
          </a:p>
          <a:p>
            <a:r>
              <a:rPr lang="pl-PL" dirty="0"/>
              <a:t>Niezwłocznie zajmiemy się wyjaśnieniem danej sytuacji i wdrożeniem działań naprawczych w razie potrzeby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1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665028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FFC7B1-BD89-496E-B6F2-1602761110C0}" type="slidenum">
              <a:rPr lang="pl-PL" smtClean="0"/>
              <a:pPr/>
              <a:t>1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0942609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l-PL" dirty="0"/>
              <a:t>Najważniejsze dane statystyczne związane z budową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90752">
              <a:defRPr/>
            </a:pPr>
            <a:fld id="{CDFFC7B1-BD89-496E-B6F2-1602761110C0}" type="slidenum">
              <a:rPr lang="pl-PL">
                <a:solidFill>
                  <a:prstClr val="black"/>
                </a:solidFill>
                <a:latin typeface="Calibri"/>
              </a:rPr>
              <a:pPr defTabSz="990752">
                <a:defRPr/>
              </a:pPr>
              <a:t>18</a:t>
            </a:fld>
            <a:endParaRPr lang="pl-PL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Na budowie obowiązkowo nosimy kask z paskiem podbródkowym, kamizelkę odblaskową oraz obuwie ochronne w klasie S3 (z podeszwą antyprzebiciową i noskiem)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19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8917019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90752">
              <a:defRPr/>
            </a:pPr>
            <a:fld id="{B05C5665-B514-4CAA-9EC9-410A32F798C0}" type="slidenum">
              <a:rPr lang="pl-PL">
                <a:solidFill>
                  <a:prstClr val="black"/>
                </a:solidFill>
                <a:latin typeface="Calibri"/>
              </a:rPr>
              <a:pPr defTabSz="990752">
                <a:defRPr/>
              </a:pPr>
              <a:t>20</a:t>
            </a:fld>
            <a:endParaRPr lang="pl-P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1390581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2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6394147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2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528088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FFC7B1-BD89-496E-B6F2-1602761110C0}" type="slidenum">
              <a:rPr lang="pl-PL" smtClean="0"/>
              <a:pPr/>
              <a:t>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1678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FFC7B1-BD89-496E-B6F2-1602761110C0}" type="slidenum">
              <a:rPr lang="pl-PL" smtClean="0"/>
              <a:pPr/>
              <a:t>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822125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FFC7B1-BD89-496E-B6F2-1602761110C0}" type="slidenum">
              <a:rPr lang="pl-PL" smtClean="0"/>
              <a:pPr/>
              <a:t>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025565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520530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Omawiamy:</a:t>
            </a:r>
          </a:p>
          <a:p>
            <a:r>
              <a:rPr lang="pl-PL"/>
              <a:t>Gdzie </a:t>
            </a:r>
            <a:r>
              <a:rPr lang="pl-PL" dirty="0"/>
              <a:t>obecnie się znajdujemy.</a:t>
            </a:r>
          </a:p>
          <a:p>
            <a:r>
              <a:rPr lang="pl-PL" dirty="0"/>
              <a:t>Gdzie jest punkt zbiórki do ewakuacji.</a:t>
            </a:r>
          </a:p>
          <a:p>
            <a:r>
              <a:rPr lang="pl-PL" dirty="0"/>
              <a:t>Gdzie jest sprzęt p.poż i pierwszej pomocy.</a:t>
            </a:r>
          </a:p>
          <a:p>
            <a:r>
              <a:rPr lang="pl-PL" dirty="0"/>
              <a:t>Którędy poruszamy się po budowie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755657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Nie wchodzimy w strefy niebezpieczne (zagrożenie spadającymi przedmiotami).</a:t>
            </a:r>
          </a:p>
          <a:p>
            <a:r>
              <a:rPr lang="pl-PL" dirty="0"/>
              <a:t>Nie opieramy się o barierki nie wychylamy się (zagrożenie upadkiem z wysokości).</a:t>
            </a:r>
          </a:p>
          <a:p>
            <a:r>
              <a:rPr lang="pl-PL" dirty="0"/>
              <a:t>Chodzimy wyznaczonymi ciągami pieszymi i schodniami.</a:t>
            </a:r>
          </a:p>
          <a:p>
            <a:r>
              <a:rPr lang="pl-PL" dirty="0"/>
              <a:t>Uwaga na otwory w stropach, patrzymy pod nogi.</a:t>
            </a:r>
          </a:p>
          <a:p>
            <a:endParaRPr lang="pl-PL" dirty="0"/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1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608610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Nie wchodzimy pod transportowany ładunek.</a:t>
            </a:r>
          </a:p>
          <a:p>
            <a:r>
              <a:rPr lang="pl-PL" dirty="0"/>
              <a:t>Nie zbliżamy się do miejsca w którym są podpinane -odpinane ładunki od haka żurawia.</a:t>
            </a:r>
          </a:p>
          <a:p>
            <a:r>
              <a:rPr lang="pl-PL" dirty="0"/>
              <a:t>Stosujemy się do komunikatów sygnalisty i hakowego (gwizdki lub polecenia ustne)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1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608610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Chodzimy wyznaczonymi ciągami pieszymi.</a:t>
            </a:r>
          </a:p>
          <a:p>
            <a:r>
              <a:rPr lang="pl-PL" dirty="0"/>
              <a:t>Nie zbliżamy się do strefy niebezpiecznej pracy sprzętu.</a:t>
            </a:r>
          </a:p>
          <a:p>
            <a:r>
              <a:rPr lang="pl-PL" dirty="0"/>
              <a:t>Przed przejściem obok pracującego sprzętu najpierw upewniamy się że jesteśmy widoczni dla operatora sprzętu (nawiązujemy kontakt wzrokowy)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1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797028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5.jpe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A57CA49-BD5C-4C01-9F8D-9D71A2FA9A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25BA9FE6-C1D8-480E-A24A-4CED8C828D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pl-PL"/>
              <a:t>Kliknij, aby edytować styl wzorca podtytułu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C50C1932-F8DC-48E7-83B9-A34CF81B912F}"/>
              </a:ext>
            </a:extLst>
          </p:cNvPr>
          <p:cNvSpPr/>
          <p:nvPr/>
        </p:nvSpPr>
        <p:spPr bwMode="auto">
          <a:xfrm>
            <a:off x="0" y="6325126"/>
            <a:ext cx="12192000" cy="53287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104611E4-A88E-4266-9EF1-6371BECBFEE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68214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Symbol zastępczy obrazu 2">
            <a:extLst>
              <a:ext uri="{FF2B5EF4-FFF2-40B4-BE49-F238E27FC236}">
                <a16:creationId xmlns:a16="http://schemas.microsoft.com/office/drawing/2014/main" id="{519F0719-6729-49CE-AE9C-287BAF1283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486400" y="1338491"/>
            <a:ext cx="6457949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69" name="Prostokąt 68">
            <a:extLst>
              <a:ext uri="{FF2B5EF4-FFF2-40B4-BE49-F238E27FC236}">
                <a16:creationId xmlns:a16="http://schemas.microsoft.com/office/drawing/2014/main" id="{C9BFCF1E-FE7E-4E52-B429-1A2987159626}"/>
              </a:ext>
            </a:extLst>
          </p:cNvPr>
          <p:cNvSpPr/>
          <p:nvPr userDrawn="1"/>
        </p:nvSpPr>
        <p:spPr>
          <a:xfrm>
            <a:off x="5494565" y="6458565"/>
            <a:ext cx="644747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pl-PL" altLang="en-US" sz="1200" b="0" kern="1200" dirty="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rPr>
              <a:t>Szkolenie informacyjne</a:t>
            </a:r>
            <a:r>
              <a:rPr lang="pl-PL" altLang="en-US" sz="1200" b="0" kern="1200" baseline="0" dirty="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rPr>
              <a:t> | </a:t>
            </a:r>
            <a:r>
              <a:rPr lang="pl-PL" altLang="en-US" sz="1200" b="0" kern="1200" dirty="0">
                <a:solidFill>
                  <a:schemeClr val="bg1"/>
                </a:solidFill>
                <a:latin typeface="Gotham Light" pitchFamily="50" charset="0"/>
                <a:ea typeface="+mn-ea"/>
                <a:cs typeface="Gotham Light" pitchFamily="50" charset="0"/>
              </a:rPr>
              <a:t>Induction Training</a:t>
            </a:r>
          </a:p>
        </p:txBody>
      </p:sp>
      <p:sp>
        <p:nvSpPr>
          <p:cNvPr id="107" name="Tytuł 1">
            <a:extLst>
              <a:ext uri="{FF2B5EF4-FFF2-40B4-BE49-F238E27FC236}">
                <a16:creationId xmlns:a16="http://schemas.microsoft.com/office/drawing/2014/main" id="{8F4A6FB8-AE39-4EFD-974B-968DB681D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700" y="770297"/>
            <a:ext cx="11658599" cy="736964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000">
                <a:latin typeface="Gotham Book" pitchFamily="50" charset="0"/>
                <a:cs typeface="Gotham Book" pitchFamily="50" charset="0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35" name="Symbol zastępczy obrazu 2">
            <a:extLst>
              <a:ext uri="{FF2B5EF4-FFF2-40B4-BE49-F238E27FC236}">
                <a16:creationId xmlns:a16="http://schemas.microsoft.com/office/drawing/2014/main" id="{D475FFE9-F4F1-434D-BAC3-E240A948D869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8811491" y="122436"/>
            <a:ext cx="3035876" cy="820047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055262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Symbol zastępczy obrazu 2">
            <a:extLst>
              <a:ext uri="{FF2B5EF4-FFF2-40B4-BE49-F238E27FC236}">
                <a16:creationId xmlns:a16="http://schemas.microsoft.com/office/drawing/2014/main" id="{519F0719-6729-49CE-AE9C-287BAF1283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928534" y="1338491"/>
            <a:ext cx="8015816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69" name="Prostokąt 68">
            <a:extLst>
              <a:ext uri="{FF2B5EF4-FFF2-40B4-BE49-F238E27FC236}">
                <a16:creationId xmlns:a16="http://schemas.microsoft.com/office/drawing/2014/main" id="{C9BFCF1E-FE7E-4E52-B429-1A2987159626}"/>
              </a:ext>
            </a:extLst>
          </p:cNvPr>
          <p:cNvSpPr/>
          <p:nvPr userDrawn="1"/>
        </p:nvSpPr>
        <p:spPr>
          <a:xfrm>
            <a:off x="5494565" y="6458565"/>
            <a:ext cx="644747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pl-PL" altLang="en-US" sz="1200" b="0" kern="1200" dirty="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rPr>
              <a:t>Szkolenie informacyjne</a:t>
            </a:r>
            <a:r>
              <a:rPr lang="pl-PL" altLang="en-US" sz="1200" b="0" kern="1200" baseline="0" dirty="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rPr>
              <a:t> | </a:t>
            </a:r>
            <a:r>
              <a:rPr lang="pl-PL" altLang="en-US" sz="1200" b="0" kern="1200" dirty="0">
                <a:solidFill>
                  <a:schemeClr val="bg1"/>
                </a:solidFill>
                <a:latin typeface="Gotham Light" pitchFamily="50" charset="0"/>
                <a:ea typeface="+mn-ea"/>
                <a:cs typeface="Gotham Light" pitchFamily="50" charset="0"/>
              </a:rPr>
              <a:t>Induction Training</a:t>
            </a:r>
          </a:p>
        </p:txBody>
      </p:sp>
      <p:sp>
        <p:nvSpPr>
          <p:cNvPr id="107" name="Tytuł 1">
            <a:extLst>
              <a:ext uri="{FF2B5EF4-FFF2-40B4-BE49-F238E27FC236}">
                <a16:creationId xmlns:a16="http://schemas.microsoft.com/office/drawing/2014/main" id="{8F4A6FB8-AE39-4EFD-974B-968DB681D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700" y="770297"/>
            <a:ext cx="11658599" cy="736964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000">
                <a:latin typeface="Gotham Book" pitchFamily="50" charset="0"/>
                <a:cs typeface="Gotham Book" pitchFamily="50" charset="0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36361945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Symbol zastępczy obrazu 2">
            <a:extLst>
              <a:ext uri="{FF2B5EF4-FFF2-40B4-BE49-F238E27FC236}">
                <a16:creationId xmlns:a16="http://schemas.microsoft.com/office/drawing/2014/main" id="{519F0719-6729-49CE-AE9C-287BAF1283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17229" y="1338491"/>
            <a:ext cx="472712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69" name="Prostokąt 68">
            <a:extLst>
              <a:ext uri="{FF2B5EF4-FFF2-40B4-BE49-F238E27FC236}">
                <a16:creationId xmlns:a16="http://schemas.microsoft.com/office/drawing/2014/main" id="{C9BFCF1E-FE7E-4E52-B429-1A2987159626}"/>
              </a:ext>
            </a:extLst>
          </p:cNvPr>
          <p:cNvSpPr/>
          <p:nvPr userDrawn="1"/>
        </p:nvSpPr>
        <p:spPr>
          <a:xfrm>
            <a:off x="5494565" y="6458565"/>
            <a:ext cx="644747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pl-PL" altLang="en-US" sz="1200" b="0" kern="1200" dirty="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rPr>
              <a:t>Szkolenie informacyjne</a:t>
            </a:r>
            <a:r>
              <a:rPr lang="pl-PL" altLang="en-US" sz="1200" b="0" kern="1200" baseline="0" dirty="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rPr>
              <a:t> | </a:t>
            </a:r>
            <a:r>
              <a:rPr lang="pl-PL" altLang="en-US" sz="1200" b="0" kern="1200" dirty="0">
                <a:solidFill>
                  <a:schemeClr val="bg1"/>
                </a:solidFill>
                <a:latin typeface="Gotham Light" pitchFamily="50" charset="0"/>
                <a:ea typeface="+mn-ea"/>
                <a:cs typeface="Gotham Light" pitchFamily="50" charset="0"/>
              </a:rPr>
              <a:t>Induction Training</a:t>
            </a:r>
          </a:p>
        </p:txBody>
      </p:sp>
      <p:sp>
        <p:nvSpPr>
          <p:cNvPr id="107" name="Tytuł 1">
            <a:extLst>
              <a:ext uri="{FF2B5EF4-FFF2-40B4-BE49-F238E27FC236}">
                <a16:creationId xmlns:a16="http://schemas.microsoft.com/office/drawing/2014/main" id="{8F4A6FB8-AE39-4EFD-974B-968DB681D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700" y="770297"/>
            <a:ext cx="11658599" cy="736964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000">
                <a:latin typeface="Gotham Book" pitchFamily="50" charset="0"/>
                <a:cs typeface="Gotham Book" pitchFamily="50" charset="0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18548972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Symbol zastępczy obrazu 2">
            <a:extLst>
              <a:ext uri="{FF2B5EF4-FFF2-40B4-BE49-F238E27FC236}">
                <a16:creationId xmlns:a16="http://schemas.microsoft.com/office/drawing/2014/main" id="{519F0719-6729-49CE-AE9C-287BAF1283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08896" y="2209800"/>
            <a:ext cx="3600637" cy="3219636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69" name="Prostokąt 68">
            <a:extLst>
              <a:ext uri="{FF2B5EF4-FFF2-40B4-BE49-F238E27FC236}">
                <a16:creationId xmlns:a16="http://schemas.microsoft.com/office/drawing/2014/main" id="{C9BFCF1E-FE7E-4E52-B429-1A2987159626}"/>
              </a:ext>
            </a:extLst>
          </p:cNvPr>
          <p:cNvSpPr/>
          <p:nvPr userDrawn="1"/>
        </p:nvSpPr>
        <p:spPr>
          <a:xfrm>
            <a:off x="5494565" y="6458565"/>
            <a:ext cx="644747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pl-PL" altLang="en-US" sz="1200" b="0" kern="1200" dirty="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rPr>
              <a:t>Szkolenie informacyjne</a:t>
            </a:r>
            <a:r>
              <a:rPr lang="pl-PL" altLang="en-US" sz="1200" b="0" kern="1200" baseline="0" dirty="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rPr>
              <a:t> | </a:t>
            </a:r>
            <a:r>
              <a:rPr lang="pl-PL" altLang="en-US" sz="1200" b="0" kern="1200" dirty="0">
                <a:solidFill>
                  <a:schemeClr val="bg1"/>
                </a:solidFill>
                <a:latin typeface="Gotham Light" pitchFamily="50" charset="0"/>
                <a:ea typeface="+mn-ea"/>
                <a:cs typeface="Gotham Light" pitchFamily="50" charset="0"/>
              </a:rPr>
              <a:t>Induction Training</a:t>
            </a:r>
          </a:p>
        </p:txBody>
      </p:sp>
      <p:sp>
        <p:nvSpPr>
          <p:cNvPr id="46" name="Tytuł 1">
            <a:extLst>
              <a:ext uri="{FF2B5EF4-FFF2-40B4-BE49-F238E27FC236}">
                <a16:creationId xmlns:a16="http://schemas.microsoft.com/office/drawing/2014/main" id="{8F4A6FB8-AE39-4EFD-974B-968DB681D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700" y="770297"/>
            <a:ext cx="11658599" cy="736964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000">
                <a:latin typeface="Gotham Book" pitchFamily="50" charset="0"/>
                <a:cs typeface="Gotham Book" pitchFamily="50" charset="0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39" name="Symbol zastępczy obrazu 2">
            <a:extLst>
              <a:ext uri="{FF2B5EF4-FFF2-40B4-BE49-F238E27FC236}">
                <a16:creationId xmlns:a16="http://schemas.microsoft.com/office/drawing/2014/main" id="{519F0719-6729-49CE-AE9C-287BAF128300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4307229" y="2209800"/>
            <a:ext cx="3600637" cy="3219636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0" name="Symbol zastępczy obrazu 2">
            <a:extLst>
              <a:ext uri="{FF2B5EF4-FFF2-40B4-BE49-F238E27FC236}">
                <a16:creationId xmlns:a16="http://schemas.microsoft.com/office/drawing/2014/main" id="{519F0719-6729-49CE-AE9C-287BAF128300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7905563" y="2209800"/>
            <a:ext cx="3600637" cy="3219636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20774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A57CA49-BD5C-4C01-9F8D-9D71A2FA9A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25BA9FE6-C1D8-480E-A24A-4CED8C828D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pl-PL"/>
              <a:t>Kliknij, aby edytować styl wzorca podtytułu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C50C1932-F8DC-48E7-83B9-A34CF81B912F}"/>
              </a:ext>
            </a:extLst>
          </p:cNvPr>
          <p:cNvSpPr/>
          <p:nvPr/>
        </p:nvSpPr>
        <p:spPr bwMode="auto">
          <a:xfrm>
            <a:off x="0" y="6325126"/>
            <a:ext cx="12192000" cy="53287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104611E4-A88E-4266-9EF1-6371BECBFEE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6520332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A3EAB06-D45C-448A-AF41-A5744F051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59126"/>
            <a:ext cx="7675179" cy="587110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422657F2-DDDA-4A9C-A413-0E605EFE29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03FA9218-507A-4861-AD6D-729D03E7AE9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752308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5DF9C159-484F-4B28-B678-9C74FB1CB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CD5BCA71-3798-44E3-B149-2EB65AD962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5" name="Prostokąt 4">
            <a:extLst>
              <a:ext uri="{FF2B5EF4-FFF2-40B4-BE49-F238E27FC236}">
                <a16:creationId xmlns:a16="http://schemas.microsoft.com/office/drawing/2014/main" id="{4CCD6A8F-D5B9-488E-8282-A048D02F3740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4718740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B3C39578-BBB2-428B-B89B-01F2A3677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6346AA38-AD82-4509-8D0F-7DEBD4BEB70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85682762-AD94-42A8-8D63-7E6E2D6DC7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309F12A8-1B88-4C69-A05D-EF08D1727B6D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2574049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AFAF630-1673-4486-A4A2-C0725B6171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B55ABFF2-E566-4DC7-87A6-CF772EE5B1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CD1ECB81-6DAA-4C22-8775-0A8C632BFC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>
            <a:extLst>
              <a:ext uri="{FF2B5EF4-FFF2-40B4-BE49-F238E27FC236}">
                <a16:creationId xmlns:a16="http://schemas.microsoft.com/office/drawing/2014/main" id="{7E4A200C-6A41-470B-8349-5AFEF9D7582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6" name="Symbol zastępczy zawartości 5">
            <a:extLst>
              <a:ext uri="{FF2B5EF4-FFF2-40B4-BE49-F238E27FC236}">
                <a16:creationId xmlns:a16="http://schemas.microsoft.com/office/drawing/2014/main" id="{8999D608-8441-4C54-98E0-F53C8D497EB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8" name="Prostokąt 7">
            <a:extLst>
              <a:ext uri="{FF2B5EF4-FFF2-40B4-BE49-F238E27FC236}">
                <a16:creationId xmlns:a16="http://schemas.microsoft.com/office/drawing/2014/main" id="{0FB860B5-1258-4243-A697-3D57A2742C2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5983587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8F4A6FB8-AE39-4EFD-974B-968DB681D9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BF720A58-6C33-4C14-B836-40B981BCA8C7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0669446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A3EAB06-D45C-448A-AF41-A5744F051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59126"/>
            <a:ext cx="7675179" cy="587110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422657F2-DDDA-4A9C-A413-0E605EFE29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03FA9218-507A-4861-AD6D-729D03E7AE9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7674214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rostokąt 2">
            <a:extLst>
              <a:ext uri="{FF2B5EF4-FFF2-40B4-BE49-F238E27FC236}">
                <a16:creationId xmlns:a16="http://schemas.microsoft.com/office/drawing/2014/main" id="{304A9354-8E70-4F1D-945D-A49F1E5461EC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8726517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0279171F-28EC-4616-9D8C-AAEAEB3F6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F5A54B59-E44C-4045-B7CA-6F553CD191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B81C00C1-45E9-43D7-BBA5-5ECA38CD396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AF1505CB-07AE-474D-92A0-B29BA0740057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1532487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1ABB466E-9827-46B9-AD47-57881D1741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>
            <a:extLst>
              <a:ext uri="{FF2B5EF4-FFF2-40B4-BE49-F238E27FC236}">
                <a16:creationId xmlns:a16="http://schemas.microsoft.com/office/drawing/2014/main" id="{519F0719-6729-49CE-AE9C-287BAF1283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E8C8E960-538D-41D6-95E7-206908F13E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D0FAF23A-6483-487D-A54E-4DA9542B05B8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1112070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AB87BCDA-47AF-4426-B127-93EDB4CEF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>
            <a:extLst>
              <a:ext uri="{FF2B5EF4-FFF2-40B4-BE49-F238E27FC236}">
                <a16:creationId xmlns:a16="http://schemas.microsoft.com/office/drawing/2014/main" id="{5C01C3B9-2F55-4622-AA4F-799992AFC6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Prostokąt 4">
            <a:extLst>
              <a:ext uri="{FF2B5EF4-FFF2-40B4-BE49-F238E27FC236}">
                <a16:creationId xmlns:a16="http://schemas.microsoft.com/office/drawing/2014/main" id="{56F1F0DC-0AC3-4F45-B74A-ED4B689B4B5F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7154839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>
            <a:extLst>
              <a:ext uri="{FF2B5EF4-FFF2-40B4-BE49-F238E27FC236}">
                <a16:creationId xmlns:a16="http://schemas.microsoft.com/office/drawing/2014/main" id="{80516850-10C3-4A7A-AB78-A9AAB71692E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>
            <a:extLst>
              <a:ext uri="{FF2B5EF4-FFF2-40B4-BE49-F238E27FC236}">
                <a16:creationId xmlns:a16="http://schemas.microsoft.com/office/drawing/2014/main" id="{DC80CA4A-C9E9-42B8-BFC8-CC2F95B2DF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Prostokąt 4">
            <a:extLst>
              <a:ext uri="{FF2B5EF4-FFF2-40B4-BE49-F238E27FC236}">
                <a16:creationId xmlns:a16="http://schemas.microsoft.com/office/drawing/2014/main" id="{B54B0B0D-A6E9-4621-A04D-EFF4F8AF584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3957325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ekst + wstę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iekt 2" hidden="1">
            <a:extLst>
              <a:ext uri="{FF2B5EF4-FFF2-40B4-BE49-F238E27FC236}">
                <a16:creationId xmlns:a16="http://schemas.microsoft.com/office/drawing/2014/main" id="{B11B16B6-C425-4F44-84F7-0FE39A936A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4887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iekt 2" hidden="1">
                        <a:extLst>
                          <a:ext uri="{FF2B5EF4-FFF2-40B4-BE49-F238E27FC236}">
                            <a16:creationId xmlns:a16="http://schemas.microsoft.com/office/drawing/2014/main" id="{B11B16B6-C425-4F44-84F7-0FE39A936AF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rostokąt 1" hidden="1">
            <a:extLst>
              <a:ext uri="{FF2B5EF4-FFF2-40B4-BE49-F238E27FC236}">
                <a16:creationId xmlns:a16="http://schemas.microsoft.com/office/drawing/2014/main" id="{605DEFFF-6347-4D2D-A463-63FA4E5199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5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Symbol zastępczy tekstu 13">
            <a:extLst>
              <a:ext uri="{FF2B5EF4-FFF2-40B4-BE49-F238E27FC236}">
                <a16:creationId xmlns:a16="http://schemas.microsoft.com/office/drawing/2014/main" id="{A82CE220-5890-4741-9C89-D545EB11C89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84457" y="2497131"/>
            <a:ext cx="11016000" cy="3560769"/>
          </a:xfrm>
        </p:spPr>
        <p:txBody>
          <a:bodyPr lIns="0" tIns="0" rIns="0" bIns="0" numCol="3" spcCol="648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9000"/>
              </a:lnSpc>
              <a:spcBef>
                <a:spcPts val="0"/>
              </a:spcBef>
              <a:spcAft>
                <a:spcPts val="140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050" kern="1200" spc="-10" baseline="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 err="1"/>
              <a:t>Edytuj</a:t>
            </a:r>
            <a:r>
              <a:rPr lang="en-GB" noProof="0" dirty="0"/>
              <a:t> style </a:t>
            </a:r>
            <a:r>
              <a:rPr lang="en-GB" noProof="0" dirty="0" err="1"/>
              <a:t>wzorca</a:t>
            </a:r>
            <a:r>
              <a:rPr lang="en-GB" noProof="0" dirty="0"/>
              <a:t> </a:t>
            </a:r>
            <a:r>
              <a:rPr lang="en-GB" noProof="0" dirty="0" err="1"/>
              <a:t>tekstu</a:t>
            </a:r>
            <a:endParaRPr lang="en-GB" noProof="0" dirty="0"/>
          </a:p>
        </p:txBody>
      </p:sp>
      <p:sp>
        <p:nvSpPr>
          <p:cNvPr id="8" name="Symbol zastępczy numeru slajdu 4">
            <a:extLst>
              <a:ext uri="{FF2B5EF4-FFF2-40B4-BE49-F238E27FC236}">
                <a16:creationId xmlns:a16="http://schemas.microsoft.com/office/drawing/2014/main" id="{FF113F57-52F8-4B2E-98A8-DE59A7A2B8E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0" y="6392863"/>
            <a:ext cx="449263" cy="2159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lnSpc>
                <a:spcPct val="108000"/>
              </a:lnSpc>
              <a:spcAft>
                <a:spcPts val="1600"/>
              </a:spcAft>
              <a:defRPr lang="pl-PL" sz="1300" b="0" smtClean="0">
                <a:solidFill>
                  <a:srgbClr val="A6A7A8"/>
                </a:solidFill>
              </a:defRPr>
            </a:lvl1pPr>
          </a:lstStyle>
          <a:p>
            <a:fld id="{A1055B1D-CF23-481A-AA09-9A6EAFA32A46}" type="slidenum">
              <a:rPr lang="pl-PL" smtClean="0"/>
              <a:t>‹#›</a:t>
            </a:fld>
            <a:endParaRPr lang="pl-PL"/>
          </a:p>
        </p:txBody>
      </p:sp>
      <p:sp>
        <p:nvSpPr>
          <p:cNvPr id="10" name="Tytuł 1">
            <a:extLst>
              <a:ext uri="{FF2B5EF4-FFF2-40B4-BE49-F238E27FC236}">
                <a16:creationId xmlns:a16="http://schemas.microsoft.com/office/drawing/2014/main" id="{29FC5633-52C8-4BFE-A0DD-30A72DDAA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457" y="989760"/>
            <a:ext cx="3305457" cy="792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100000"/>
              </a:lnSpc>
              <a:defRPr sz="2500" b="1">
                <a:solidFill>
                  <a:srgbClr val="535459"/>
                </a:solidFill>
              </a:defRPr>
            </a:lvl1pPr>
          </a:lstStyle>
          <a:p>
            <a:r>
              <a:rPr lang="en-GB" dirty="0" err="1"/>
              <a:t>Kliknij</a:t>
            </a:r>
            <a:r>
              <a:rPr lang="en-GB" dirty="0"/>
              <a:t>, aby </a:t>
            </a:r>
            <a:r>
              <a:rPr lang="en-GB" dirty="0" err="1"/>
              <a:t>edytować</a:t>
            </a:r>
            <a:r>
              <a:rPr lang="en-GB" dirty="0"/>
              <a:t> </a:t>
            </a:r>
            <a:r>
              <a:rPr lang="en-GB" dirty="0" err="1"/>
              <a:t>styl</a:t>
            </a:r>
            <a:endParaRPr lang="en-GB" dirty="0"/>
          </a:p>
        </p:txBody>
      </p:sp>
      <p:sp>
        <p:nvSpPr>
          <p:cNvPr id="12" name="Symbol zastępczy tekstu 13">
            <a:extLst>
              <a:ext uri="{FF2B5EF4-FFF2-40B4-BE49-F238E27FC236}">
                <a16:creationId xmlns:a16="http://schemas.microsoft.com/office/drawing/2014/main" id="{EB7633AF-495C-4D40-8C81-CC8EEA434A5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84" y="647685"/>
            <a:ext cx="3304630" cy="31671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535459"/>
                </a:solidFill>
              </a:defRPr>
            </a:lvl1pPr>
          </a:lstStyle>
          <a:p>
            <a:pPr lvl="0"/>
            <a:r>
              <a:rPr lang="en-GB" dirty="0" err="1"/>
              <a:t>Edytuj</a:t>
            </a:r>
            <a:r>
              <a:rPr lang="en-GB" dirty="0"/>
              <a:t> style </a:t>
            </a:r>
            <a:r>
              <a:rPr lang="en-GB" dirty="0" err="1"/>
              <a:t>wzorca</a:t>
            </a:r>
            <a:r>
              <a:rPr lang="en-GB" dirty="0"/>
              <a:t> </a:t>
            </a:r>
            <a:r>
              <a:rPr lang="en-GB" dirty="0" err="1"/>
              <a:t>tekstu</a:t>
            </a:r>
            <a:endParaRPr lang="en-GB" dirty="0"/>
          </a:p>
        </p:txBody>
      </p:sp>
      <p:cxnSp>
        <p:nvCxnSpPr>
          <p:cNvPr id="13" name="Łącznik prosty 12">
            <a:extLst>
              <a:ext uri="{FF2B5EF4-FFF2-40B4-BE49-F238E27FC236}">
                <a16:creationId xmlns:a16="http://schemas.microsoft.com/office/drawing/2014/main" id="{96F2E47E-0388-408C-8103-FCBA9399C960}"/>
              </a:ext>
            </a:extLst>
          </p:cNvPr>
          <p:cNvCxnSpPr>
            <a:cxnSpLocks/>
          </p:cNvCxnSpPr>
          <p:nvPr/>
        </p:nvCxnSpPr>
        <p:spPr>
          <a:xfrm>
            <a:off x="585788" y="2141538"/>
            <a:ext cx="3144837" cy="0"/>
          </a:xfrm>
          <a:prstGeom prst="line">
            <a:avLst/>
          </a:prstGeom>
          <a:ln>
            <a:solidFill>
              <a:srgbClr val="A6A7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141601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E2C5D963-3883-4D45-8E16-5F7316D0EA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1FBCC2-4413-43E4-BF86-9EABF050CDD2}" type="datetimeFigureOut">
              <a:rPr lang="pl-PL" smtClean="0"/>
              <a:t>2025-02-0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A2CD1EC0-68A2-4D8B-A6B0-CAD409530B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B74D7248-4170-4165-A7D5-A7C147EE37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055B1D-CF23-481A-AA09-9A6EAFA32A46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565677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iekt 3" hidden="1">
            <a:extLst>
              <a:ext uri="{FF2B5EF4-FFF2-40B4-BE49-F238E27FC236}">
                <a16:creationId xmlns:a16="http://schemas.microsoft.com/office/drawing/2014/main" id="{45408421-BBA8-4B29-8A46-199255D2DD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7625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iekt 3" hidden="1">
                        <a:extLst>
                          <a:ext uri="{FF2B5EF4-FFF2-40B4-BE49-F238E27FC236}">
                            <a16:creationId xmlns:a16="http://schemas.microsoft.com/office/drawing/2014/main" id="{45408421-BBA8-4B29-8A46-199255D2DDA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rostokąt 2" hidden="1">
            <a:extLst>
              <a:ext uri="{FF2B5EF4-FFF2-40B4-BE49-F238E27FC236}">
                <a16:creationId xmlns:a16="http://schemas.microsoft.com/office/drawing/2014/main" id="{B430D8EF-7CAE-485B-88B9-D9D49E6E673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5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BC79E058-8D12-425A-8799-681C8E420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457" y="989760"/>
            <a:ext cx="3305457" cy="792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100000"/>
              </a:lnSpc>
              <a:defRPr sz="2500" b="1">
                <a:solidFill>
                  <a:srgbClr val="535459"/>
                </a:solidFill>
              </a:defRPr>
            </a:lvl1pPr>
          </a:lstStyle>
          <a:p>
            <a:r>
              <a:rPr lang="en-GB" dirty="0" err="1"/>
              <a:t>Kliknij</a:t>
            </a:r>
            <a:r>
              <a:rPr lang="en-GB" dirty="0"/>
              <a:t>, aby </a:t>
            </a:r>
            <a:r>
              <a:rPr lang="en-GB" dirty="0" err="1"/>
              <a:t>edytować</a:t>
            </a:r>
            <a:r>
              <a:rPr lang="en-GB" dirty="0"/>
              <a:t> </a:t>
            </a:r>
            <a:r>
              <a:rPr lang="en-GB" dirty="0" err="1"/>
              <a:t>styl</a:t>
            </a:r>
            <a:endParaRPr lang="en-GB" dirty="0"/>
          </a:p>
        </p:txBody>
      </p:sp>
      <p:sp>
        <p:nvSpPr>
          <p:cNvPr id="14" name="Symbol zastępczy tekstu 13">
            <a:extLst>
              <a:ext uri="{FF2B5EF4-FFF2-40B4-BE49-F238E27FC236}">
                <a16:creationId xmlns:a16="http://schemas.microsoft.com/office/drawing/2014/main" id="{35E75C0E-4110-4231-AC28-244AD222BB4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84" y="647685"/>
            <a:ext cx="3304630" cy="31671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535459"/>
                </a:solidFill>
              </a:defRPr>
            </a:lvl1pPr>
          </a:lstStyle>
          <a:p>
            <a:pPr lvl="0"/>
            <a:r>
              <a:rPr lang="en-GB" dirty="0" err="1"/>
              <a:t>Edytuj</a:t>
            </a:r>
            <a:r>
              <a:rPr lang="en-GB" dirty="0"/>
              <a:t> style </a:t>
            </a:r>
            <a:r>
              <a:rPr lang="en-GB" dirty="0" err="1"/>
              <a:t>wzorca</a:t>
            </a:r>
            <a:r>
              <a:rPr lang="en-GB" dirty="0"/>
              <a:t> </a:t>
            </a:r>
            <a:r>
              <a:rPr lang="en-GB" dirty="0" err="1"/>
              <a:t>tekstu</a:t>
            </a:r>
            <a:endParaRPr lang="en-GB" dirty="0"/>
          </a:p>
        </p:txBody>
      </p:sp>
      <p:sp>
        <p:nvSpPr>
          <p:cNvPr id="10" name="Symbol zastępczy numeru slajdu 4">
            <a:extLst>
              <a:ext uri="{FF2B5EF4-FFF2-40B4-BE49-F238E27FC236}">
                <a16:creationId xmlns:a16="http://schemas.microsoft.com/office/drawing/2014/main" id="{ACEAD039-469C-42A1-B235-A50020AA648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0" y="6392863"/>
            <a:ext cx="449263" cy="2159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lnSpc>
                <a:spcPct val="108000"/>
              </a:lnSpc>
              <a:spcAft>
                <a:spcPts val="1600"/>
              </a:spcAft>
              <a:defRPr lang="pl-PL" sz="1300" b="0" smtClean="0">
                <a:solidFill>
                  <a:srgbClr val="A6A7A8"/>
                </a:solidFill>
              </a:defRPr>
            </a:lvl1pPr>
          </a:lstStyle>
          <a:p>
            <a:fld id="{A1055B1D-CF23-481A-AA09-9A6EAFA32A46}" type="slidenum">
              <a:rPr lang="pl-PL" smtClean="0"/>
              <a:t>‹#›</a:t>
            </a:fld>
            <a:endParaRPr lang="pl-PL"/>
          </a:p>
        </p:txBody>
      </p:sp>
      <p:graphicFrame>
        <p:nvGraphicFramePr>
          <p:cNvPr id="7" name="Obiekt 6" hidden="1">
            <a:extLst>
              <a:ext uri="{FF2B5EF4-FFF2-40B4-BE49-F238E27FC236}">
                <a16:creationId xmlns:a16="http://schemas.microsoft.com/office/drawing/2014/main" id="{CFD4112D-562E-4FBA-80F2-EFF5A50DC4B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7" name="Obiekt 6" hidden="1">
                        <a:extLst>
                          <a:ext uri="{FF2B5EF4-FFF2-40B4-BE49-F238E27FC236}">
                            <a16:creationId xmlns:a16="http://schemas.microsoft.com/office/drawing/2014/main" id="{CFD4112D-562E-4FBA-80F2-EFF5A50DC4B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rostokąt 7" hidden="1">
            <a:extLst>
              <a:ext uri="{FF2B5EF4-FFF2-40B4-BE49-F238E27FC236}">
                <a16:creationId xmlns:a16="http://schemas.microsoft.com/office/drawing/2014/main" id="{26A5662F-62D4-43D0-8873-04FB4AE4B9B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5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33072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18EA25-863A-47B7-AE1B-3A73ECA52C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5" progId="TCLayout.ActiveDocument.1">
                  <p:embed/>
                </p:oleObj>
              </mc:Choice>
              <mc:Fallback>
                <p:oleObj name="think-cell Slide" r:id="rId5" imgW="344" imgH="34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18EA25-863A-47B7-AE1B-3A73ECA52C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57D947B-2C6D-4419-B9AF-F2F3D693334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pl-PL" sz="204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61987" y="234865"/>
            <a:ext cx="11163437" cy="31402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pl-PL" dirty="0">
                <a:solidFill>
                  <a:srgbClr val="0C57A2"/>
                </a:solidFill>
              </a:defRPr>
            </a:lvl1pPr>
          </a:lstStyle>
          <a:p>
            <a:pPr lvl="0"/>
            <a:r>
              <a:rPr lang="pl-PL" dirty="0" err="1"/>
              <a:t>Click</a:t>
            </a:r>
            <a:r>
              <a:rPr lang="pl-PL" dirty="0"/>
              <a:t> to </a:t>
            </a:r>
            <a:r>
              <a:rPr lang="pl-PL" dirty="0" err="1"/>
              <a:t>edit</a:t>
            </a:r>
            <a:r>
              <a:rPr lang="pl-PL" dirty="0"/>
              <a:t> Master </a:t>
            </a:r>
            <a:r>
              <a:rPr lang="pl-PL" dirty="0" err="1"/>
              <a:t>title</a:t>
            </a:r>
            <a:r>
              <a:rPr lang="pl-PL" dirty="0"/>
              <a:t> style</a:t>
            </a:r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652053" y="6639226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l-PL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pl-PL" sz="816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465075" y="6639226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492"/>
            <a:r>
              <a:rPr lang="pl-PL" sz="816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92" eaLnBrk="1"/>
            <a:endParaRPr lang="pl-PL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D0CB31D-1D08-4806-B0A5-07EED3B43204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403172" y="234865"/>
            <a:ext cx="484298" cy="48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565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7">
          <p15:clr>
            <a:srgbClr val="F26B43"/>
          </p15:clr>
        </p15:guide>
        <p15:guide id="2" pos="96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09">
          <p15:clr>
            <a:srgbClr val="F26B43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1"/>
          <a:ext cx="2159" cy="16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1"/>
                        <a:ext cx="2159" cy="16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36CF378-F179-4FB5-8B8F-E2299C493C3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pl-PL" sz="204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dirty="0" err="1"/>
              <a:t>Click</a:t>
            </a:r>
            <a:r>
              <a:rPr lang="pl-PL" dirty="0"/>
              <a:t> to </a:t>
            </a:r>
            <a:r>
              <a:rPr lang="pl-PL" dirty="0" err="1"/>
              <a:t>edit</a:t>
            </a:r>
            <a:r>
              <a:rPr lang="pl-PL" dirty="0"/>
              <a:t> Master </a:t>
            </a:r>
            <a:r>
              <a:rPr lang="pl-PL" dirty="0" err="1"/>
              <a:t>title</a:t>
            </a:r>
            <a:r>
              <a:rPr lang="pl-PL" dirty="0"/>
              <a:t> style</a:t>
            </a:r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652053" y="6639226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l-PL" sz="816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pl-PL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465075" y="6639226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492"/>
            <a:r>
              <a:rPr lang="pl-PL" sz="816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92" eaLnBrk="1"/>
            <a:endParaRPr lang="pl-PL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424952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B3C39578-BBB2-428B-B89B-01F2A3677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6346AA38-AD82-4509-8D0F-7DEBD4BEB70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85682762-AD94-42A8-8D63-7E6E2D6DC7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309F12A8-1B88-4C69-A05D-EF08D1727B6D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0017554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AFAF630-1673-4486-A4A2-C0725B6171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B55ABFF2-E566-4DC7-87A6-CF772EE5B1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CD1ECB81-6DAA-4C22-8775-0A8C632BFC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>
            <a:extLst>
              <a:ext uri="{FF2B5EF4-FFF2-40B4-BE49-F238E27FC236}">
                <a16:creationId xmlns:a16="http://schemas.microsoft.com/office/drawing/2014/main" id="{7E4A200C-6A41-470B-8349-5AFEF9D7582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6" name="Symbol zastępczy zawartości 5">
            <a:extLst>
              <a:ext uri="{FF2B5EF4-FFF2-40B4-BE49-F238E27FC236}">
                <a16:creationId xmlns:a16="http://schemas.microsoft.com/office/drawing/2014/main" id="{8999D608-8441-4C54-98E0-F53C8D497EB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8" name="Prostokąt 7">
            <a:extLst>
              <a:ext uri="{FF2B5EF4-FFF2-40B4-BE49-F238E27FC236}">
                <a16:creationId xmlns:a16="http://schemas.microsoft.com/office/drawing/2014/main" id="{0FB860B5-1258-4243-A697-3D57A2742C2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6479568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8F4A6FB8-AE39-4EFD-974B-968DB681D9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BF720A58-6C33-4C14-B836-40B981BCA8C7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5065513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rostokąt 2">
            <a:extLst>
              <a:ext uri="{FF2B5EF4-FFF2-40B4-BE49-F238E27FC236}">
                <a16:creationId xmlns:a16="http://schemas.microsoft.com/office/drawing/2014/main" id="{304A9354-8E70-4F1D-945D-A49F1E5461EC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5258133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0279171F-28EC-4616-9D8C-AAEAEB3F6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F5A54B59-E44C-4045-B7CA-6F553CD191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B81C00C1-45E9-43D7-BBA5-5ECA38CD396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AF1505CB-07AE-474D-92A0-B29BA0740057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271144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1ABB466E-9827-46B9-AD47-57881D1741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>
            <a:extLst>
              <a:ext uri="{FF2B5EF4-FFF2-40B4-BE49-F238E27FC236}">
                <a16:creationId xmlns:a16="http://schemas.microsoft.com/office/drawing/2014/main" id="{519F0719-6729-49CE-AE9C-287BAF1283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E8C8E960-538D-41D6-95E7-206908F13E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D0FAF23A-6483-487D-A54E-4DA9542B05B8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9254075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rostokąt 5">
            <a:extLst>
              <a:ext uri="{FF2B5EF4-FFF2-40B4-BE49-F238E27FC236}">
                <a16:creationId xmlns:a16="http://schemas.microsoft.com/office/drawing/2014/main" id="{C9BFCF1E-FE7E-4E52-B429-1A2987159626}"/>
              </a:ext>
            </a:extLst>
          </p:cNvPr>
          <p:cNvSpPr/>
          <p:nvPr userDrawn="1"/>
        </p:nvSpPr>
        <p:spPr>
          <a:xfrm>
            <a:off x="5494565" y="6458565"/>
            <a:ext cx="644747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pl-PL" altLang="en-US" sz="1200" b="0" kern="1200" dirty="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rPr>
              <a:t>Szkolenie informacyjne</a:t>
            </a:r>
            <a:r>
              <a:rPr lang="pl-PL" altLang="en-US" sz="1200" b="0" kern="1200" baseline="0" dirty="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rPr>
              <a:t> | </a:t>
            </a:r>
            <a:r>
              <a:rPr lang="pl-PL" altLang="en-US" sz="1200" b="0" kern="1200" dirty="0">
                <a:solidFill>
                  <a:schemeClr val="bg1"/>
                </a:solidFill>
                <a:latin typeface="Gotham Light" pitchFamily="50" charset="0"/>
                <a:ea typeface="+mn-ea"/>
                <a:cs typeface="Gotham Light" pitchFamily="50" charset="0"/>
              </a:rPr>
              <a:t>Induction Training</a:t>
            </a:r>
          </a:p>
        </p:txBody>
      </p:sp>
    </p:spTree>
    <p:extLst>
      <p:ext uri="{BB962C8B-B14F-4D97-AF65-F5344CB8AC3E}">
        <p14:creationId xmlns:p14="http://schemas.microsoft.com/office/powerpoint/2010/main" val="4671803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" Type="http://schemas.openxmlformats.org/officeDocument/2006/relationships/theme" Target="../theme/theme3.xml"/><Relationship Id="rId21" Type="http://schemas.openxmlformats.org/officeDocument/2006/relationships/tags" Target="../tags/tag24.xml"/><Relationship Id="rId34" Type="http://schemas.openxmlformats.org/officeDocument/2006/relationships/image" Target="../media/image3.emf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oleObject" Target="../embeddings/oleObject3.bin"/><Relationship Id="rId2" Type="http://schemas.openxmlformats.org/officeDocument/2006/relationships/slideLayout" Target="../slideLayouts/slideLayout29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1" Type="http://schemas.openxmlformats.org/officeDocument/2006/relationships/slideLayout" Target="../slideLayouts/slideLayout28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8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>
            <a:extLst>
              <a:ext uri="{FF2B5EF4-FFF2-40B4-BE49-F238E27FC236}">
                <a16:creationId xmlns:a16="http://schemas.microsoft.com/office/drawing/2014/main" id="{6F2ACC88-E51F-415F-848A-173E98E1F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E4FCDC65-8F0A-4A35-847D-64B86ECEBA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7C8AD378-8C3B-4112-B6FD-0C14FE8E049B}"/>
              </a:ext>
            </a:extLst>
          </p:cNvPr>
          <p:cNvSpPr/>
          <p:nvPr/>
        </p:nvSpPr>
        <p:spPr bwMode="auto">
          <a:xfrm>
            <a:off x="0" y="6325126"/>
            <a:ext cx="12192000" cy="53287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D84F2B17-E94C-4EAC-A792-B1E8C1DD804F}"/>
              </a:ext>
            </a:extLst>
          </p:cNvPr>
          <p:cNvSpPr/>
          <p:nvPr/>
        </p:nvSpPr>
        <p:spPr>
          <a:xfrm>
            <a:off x="0" y="6312877"/>
            <a:ext cx="12192000" cy="545123"/>
          </a:xfrm>
          <a:prstGeom prst="rect">
            <a:avLst/>
          </a:prstGeom>
          <a:solidFill>
            <a:srgbClr val="5354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0" name="Prostokąt 9">
            <a:extLst>
              <a:ext uri="{FF2B5EF4-FFF2-40B4-BE49-F238E27FC236}">
                <a16:creationId xmlns:a16="http://schemas.microsoft.com/office/drawing/2014/main" id="{D1198D9C-2AC6-40DD-B41C-3556EC832B24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D7ED48CB-4C55-0624-F8EA-80385B9CD41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611" y="30582"/>
            <a:ext cx="1819835" cy="397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9949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14" r:id="rId9"/>
    <p:sldLayoutId id="2147483715" r:id="rId10"/>
    <p:sldLayoutId id="2147483716" r:id="rId11"/>
    <p:sldLayoutId id="2147483717" r:id="rId12"/>
    <p:sldLayoutId id="2147483718" r:id="rId13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>
            <a:extLst>
              <a:ext uri="{FF2B5EF4-FFF2-40B4-BE49-F238E27FC236}">
                <a16:creationId xmlns:a16="http://schemas.microsoft.com/office/drawing/2014/main" id="{6F2ACC88-E51F-415F-848A-173E98E1F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E4FCDC65-8F0A-4A35-847D-64B86ECEBA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7C8AD378-8C3B-4112-B6FD-0C14FE8E049B}"/>
              </a:ext>
            </a:extLst>
          </p:cNvPr>
          <p:cNvSpPr/>
          <p:nvPr/>
        </p:nvSpPr>
        <p:spPr bwMode="auto">
          <a:xfrm>
            <a:off x="0" y="6325126"/>
            <a:ext cx="12192000" cy="53287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D84F2B17-E94C-4EAC-A792-B1E8C1DD804F}"/>
              </a:ext>
            </a:extLst>
          </p:cNvPr>
          <p:cNvSpPr/>
          <p:nvPr/>
        </p:nvSpPr>
        <p:spPr>
          <a:xfrm>
            <a:off x="0" y="6312877"/>
            <a:ext cx="12192000" cy="545123"/>
          </a:xfrm>
          <a:prstGeom prst="rect">
            <a:avLst/>
          </a:prstGeom>
          <a:solidFill>
            <a:srgbClr val="5354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0" name="Prostokąt 9">
            <a:extLst>
              <a:ext uri="{FF2B5EF4-FFF2-40B4-BE49-F238E27FC236}">
                <a16:creationId xmlns:a16="http://schemas.microsoft.com/office/drawing/2014/main" id="{D1198D9C-2AC6-40DD-B41C-3556EC832B24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D1A00AB4-1652-05A2-89F4-BB18E20EC23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611" y="30582"/>
            <a:ext cx="1819835" cy="397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451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1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5"/>
            </p:custDataLst>
          </p:nvPr>
        </p:nvSpPr>
        <p:spPr bwMode="auto">
          <a:xfrm>
            <a:off x="0" y="1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pl-PL" sz="2040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61073" y="1979058"/>
            <a:ext cx="2271798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l-PL" sz="612" baseline="0">
                <a:solidFill>
                  <a:srgbClr val="808080"/>
                </a:solidFill>
                <a:latin typeface="+mn-lt"/>
                <a:ea typeface="+mn-ea"/>
              </a:rPr>
              <a:t>Last Modified 05.11.2019 09:26 Europa Zachodnia (czas stand.)</a:t>
            </a:r>
            <a:endParaRPr lang="pl-PL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22404" y="4197038"/>
            <a:ext cx="214913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l-PL" sz="612" baseline="0" dirty="0">
                <a:solidFill>
                  <a:srgbClr val="808080"/>
                </a:solidFill>
                <a:latin typeface="+mn-lt"/>
                <a:ea typeface="+mn-ea"/>
              </a:rPr>
              <a:t>Printed 3/15/2019 7:46 PM Central European Standard Time</a:t>
            </a:r>
            <a:endParaRPr lang="pl-PL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pl-PL" dirty="0" err="1"/>
              <a:t>Click</a:t>
            </a:r>
            <a:r>
              <a:rPr lang="pl-PL" dirty="0"/>
              <a:t> to </a:t>
            </a:r>
            <a:r>
              <a:rPr lang="pl-PL" dirty="0" err="1"/>
              <a:t>edit</a:t>
            </a:r>
            <a:r>
              <a:rPr lang="pl-PL" dirty="0"/>
              <a:t> Master </a:t>
            </a:r>
            <a:r>
              <a:rPr lang="pl-PL" dirty="0" err="1"/>
              <a:t>title</a:t>
            </a:r>
            <a:r>
              <a:rPr lang="pl-PL" dirty="0"/>
              <a:t> style</a:t>
            </a:r>
            <a:endParaRPr lang="pl-PL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l-PL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l-PL" sz="1632" baseline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7" y="6432274"/>
            <a:ext cx="117254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l-PL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3"/>
            <a:ext cx="9795571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52" indent="-621952" defTabSz="913492">
              <a:tabLst>
                <a:tab pos="643008" algn="l"/>
              </a:tabLst>
            </a:pPr>
            <a:r>
              <a:rPr lang="pl-PL" sz="816" baseline="0" dirty="0">
                <a:solidFill>
                  <a:schemeClr val="accent6"/>
                </a:solidFill>
                <a:latin typeface="+mn-lt"/>
                <a:ea typeface="+mn-ea"/>
              </a:rPr>
              <a:t>ŻRÓDŁO: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1991016"/>
            <a:ext cx="5853024" cy="113050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pl-PL" dirty="0"/>
              <a:t>Edit Master </a:t>
            </a:r>
            <a:r>
              <a:rPr lang="pl-PL" dirty="0" err="1"/>
              <a:t>text</a:t>
            </a:r>
            <a:r>
              <a:rPr lang="pl-PL" dirty="0"/>
              <a:t> </a:t>
            </a:r>
            <a:r>
              <a:rPr lang="pl-PL" dirty="0" err="1"/>
              <a:t>styles</a:t>
            </a:r>
            <a:endParaRPr lang="pl-PL" dirty="0"/>
          </a:p>
          <a:p>
            <a:pPr lvl="1" latinLnBrk="0"/>
            <a:r>
              <a:rPr lang="pl-PL" dirty="0"/>
              <a:t>Second </a:t>
            </a:r>
            <a:r>
              <a:rPr lang="pl-PL" dirty="0" err="1"/>
              <a:t>level</a:t>
            </a:r>
            <a:endParaRPr lang="pl-PL" dirty="0"/>
          </a:p>
          <a:p>
            <a:pPr lvl="2" latinLnBrk="0"/>
            <a:r>
              <a:rPr lang="pl-PL" dirty="0"/>
              <a:t>Third </a:t>
            </a:r>
            <a:r>
              <a:rPr lang="pl-PL" dirty="0" err="1"/>
              <a:t>level</a:t>
            </a:r>
            <a:endParaRPr lang="pl-PL" dirty="0"/>
          </a:p>
          <a:p>
            <a:pPr lvl="3" latinLnBrk="0"/>
            <a:r>
              <a:rPr lang="pl-PL" dirty="0" err="1"/>
              <a:t>Fourth</a:t>
            </a:r>
            <a:r>
              <a:rPr lang="pl-PL" dirty="0"/>
              <a:t> </a:t>
            </a:r>
            <a:r>
              <a:rPr lang="pl-PL" dirty="0" err="1"/>
              <a:t>level</a:t>
            </a:r>
            <a:endParaRPr lang="pl-PL" dirty="0"/>
          </a:p>
          <a:p>
            <a:pPr lvl="4" latinLnBrk="0"/>
            <a:r>
              <a:rPr lang="pl-PL" dirty="0" err="1"/>
              <a:t>Fifth</a:t>
            </a:r>
            <a:r>
              <a:rPr lang="pl-PL" dirty="0"/>
              <a:t> </a:t>
            </a:r>
            <a:r>
              <a:rPr lang="pl-PL" dirty="0" err="1"/>
              <a:t>level</a:t>
            </a:r>
            <a:endParaRPr lang="pl-PL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4"/>
            <a:ext cx="5801189" cy="531278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l-PL" sz="1632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pl-PL" sz="1632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94696" y="291555"/>
            <a:ext cx="492769" cy="156360"/>
            <a:chOff x="8378577" y="285750"/>
            <a:chExt cx="362198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7" y="285750"/>
              <a:ext cx="362198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92">
                <a:buClr>
                  <a:srgbClr val="002960"/>
                </a:buClr>
              </a:pPr>
              <a:r>
                <a:rPr lang="pl-PL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7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7" y="438997"/>
              <a:ext cx="36219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11576462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pl-PL" sz="1632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92" eaLnBrk="1"/>
            <a:endParaRPr lang="pl-PL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10263061" y="277886"/>
            <a:ext cx="1392630" cy="781397"/>
            <a:chOff x="7607284" y="279400"/>
            <a:chExt cx="1023619" cy="765841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8169259" y="279400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8169259" y="546100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825501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10682062" y="277991"/>
            <a:ext cx="973632" cy="1053514"/>
            <a:chOff x="5894005" y="919828"/>
            <a:chExt cx="715645" cy="1032542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6148005" y="919828"/>
              <a:ext cx="461645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6148005" y="1189703"/>
              <a:ext cx="461645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1461166"/>
              <a:ext cx="461645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732630"/>
              <a:ext cx="461645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10591354" y="277480"/>
            <a:ext cx="1064343" cy="1348138"/>
            <a:chOff x="5894005" y="2695123"/>
            <a:chExt cx="782319" cy="1321299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6214680" y="2696542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6214680" y="2974157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3248595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3521448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796682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58" name="Slide Number">
            <a:extLst>
              <a:ext uri="{FF2B5EF4-FFF2-40B4-BE49-F238E27FC236}">
                <a16:creationId xmlns:a16="http://schemas.microsoft.com/office/drawing/2014/main" id="{F7995FE0-8ABB-4ED8-9F49-C38B4443320A}"/>
              </a:ext>
            </a:extLst>
          </p:cNvPr>
          <p:cNvSpPr txBox="1">
            <a:spLocks/>
          </p:cNvSpPr>
          <p:nvPr/>
        </p:nvSpPr>
        <p:spPr bwMode="auto">
          <a:xfrm>
            <a:off x="11652053" y="6639226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l-PL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pl-PL" sz="816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86674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</p:sldLayoutIdLst>
  <p:txStyles>
    <p:titleStyle>
      <a:lvl1pPr algn="l" defTabSz="913492" rtl="0" eaLnBrk="1" fontAlgn="base" hangingPunct="1">
        <a:spcBef>
          <a:spcPct val="0"/>
        </a:spcBef>
        <a:spcAft>
          <a:spcPct val="0"/>
        </a:spcAft>
        <a:tabLst>
          <a:tab pos="275343" algn="l"/>
        </a:tabLst>
        <a:defRPr sz="2040" b="0" baseline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64"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29"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391"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856"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599" indent="-195980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28" baseline="0">
          <a:solidFill>
            <a:schemeClr val="tx1"/>
          </a:solidFill>
          <a:latin typeface="+mn-lt"/>
        </a:defRPr>
      </a:lvl2pPr>
      <a:lvl3pPr marL="466464" indent="-267245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28" baseline="0">
          <a:solidFill>
            <a:schemeClr val="tx1"/>
          </a:solidFill>
          <a:latin typeface="+mn-lt"/>
        </a:defRPr>
      </a:lvl3pPr>
      <a:lvl4pPr marL="626812" indent="-158727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28" baseline="0">
          <a:solidFill>
            <a:schemeClr val="tx1"/>
          </a:solidFill>
          <a:latin typeface="+mn-lt"/>
        </a:defRPr>
      </a:lvl4pPr>
      <a:lvl5pPr marL="765001" indent="-132812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28" baseline="0">
          <a:solidFill>
            <a:schemeClr val="tx1"/>
          </a:solidFill>
          <a:latin typeface="+mn-lt"/>
        </a:defRPr>
      </a:lvl5pPr>
      <a:lvl6pPr marL="765001" indent="-132812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01" indent="-132812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01" indent="-132812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01" indent="-132812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464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929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9391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856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2320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8785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5249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1714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0.png"/><Relationship Id="rId5" Type="http://schemas.openxmlformats.org/officeDocument/2006/relationships/image" Target="../media/image41.png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7.png"/><Relationship Id="rId5" Type="http://schemas.openxmlformats.org/officeDocument/2006/relationships/image" Target="../media/image40.png"/><Relationship Id="rId4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3.png"/><Relationship Id="rId5" Type="http://schemas.openxmlformats.org/officeDocument/2006/relationships/image" Target="../media/image7.png"/><Relationship Id="rId4" Type="http://schemas.openxmlformats.org/officeDocument/2006/relationships/image" Target="../media/image5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4.jpe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7.png"/><Relationship Id="rId5" Type="http://schemas.openxmlformats.org/officeDocument/2006/relationships/image" Target="../media/image50.png"/><Relationship Id="rId4" Type="http://schemas.openxmlformats.org/officeDocument/2006/relationships/image" Target="../media/image4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9.png"/><Relationship Id="rId11" Type="http://schemas.openxmlformats.org/officeDocument/2006/relationships/image" Target="../media/image64.png"/><Relationship Id="rId5" Type="http://schemas.openxmlformats.org/officeDocument/2006/relationships/image" Target="../media/image58.png"/><Relationship Id="rId10" Type="http://schemas.openxmlformats.org/officeDocument/2006/relationships/image" Target="../media/image63.png"/><Relationship Id="rId4" Type="http://schemas.openxmlformats.org/officeDocument/2006/relationships/image" Target="../media/image57.png"/><Relationship Id="rId9" Type="http://schemas.openxmlformats.org/officeDocument/2006/relationships/image" Target="../media/image6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image" Target="../media/image68.png"/><Relationship Id="rId7" Type="http://schemas.openxmlformats.org/officeDocument/2006/relationships/image" Target="../media/image7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1.png"/><Relationship Id="rId5" Type="http://schemas.openxmlformats.org/officeDocument/2006/relationships/image" Target="../media/image70.jpeg"/><Relationship Id="rId4" Type="http://schemas.openxmlformats.org/officeDocument/2006/relationships/image" Target="../media/image69.png"/><Relationship Id="rId9" Type="http://schemas.openxmlformats.org/officeDocument/2006/relationships/image" Target="../media/image74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7.png"/><Relationship Id="rId7" Type="http://schemas.openxmlformats.org/officeDocument/2006/relationships/diagramColors" Target="../diagrams/colors1.xml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diagramQuickStyle" Target="../diagrams/quickStyle1.xml"/><Relationship Id="rId11" Type="http://schemas.openxmlformats.org/officeDocument/2006/relationships/image" Target="../media/image13.png"/><Relationship Id="rId5" Type="http://schemas.openxmlformats.org/officeDocument/2006/relationships/diagramLayout" Target="../diagrams/layout1.xml"/><Relationship Id="rId10" Type="http://schemas.openxmlformats.org/officeDocument/2006/relationships/image" Target="../media/image12.png"/><Relationship Id="rId4" Type="http://schemas.openxmlformats.org/officeDocument/2006/relationships/diagramData" Target="../diagrams/data1.xml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1.png"/><Relationship Id="rId5" Type="http://schemas.openxmlformats.org/officeDocument/2006/relationships/image" Target="../media/image20.jpeg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13" Type="http://schemas.openxmlformats.org/officeDocument/2006/relationships/image" Target="../media/image33.jpeg"/><Relationship Id="rId18" Type="http://schemas.openxmlformats.org/officeDocument/2006/relationships/image" Target="../media/image38.jpeg"/><Relationship Id="rId3" Type="http://schemas.openxmlformats.org/officeDocument/2006/relationships/image" Target="../media/image23.jpeg"/><Relationship Id="rId21" Type="http://schemas.openxmlformats.org/officeDocument/2006/relationships/image" Target="../media/image41.png"/><Relationship Id="rId7" Type="http://schemas.openxmlformats.org/officeDocument/2006/relationships/image" Target="../media/image27.jpeg"/><Relationship Id="rId12" Type="http://schemas.openxmlformats.org/officeDocument/2006/relationships/image" Target="../media/image32.jpeg"/><Relationship Id="rId17" Type="http://schemas.openxmlformats.org/officeDocument/2006/relationships/image" Target="../media/image37.jpeg"/><Relationship Id="rId2" Type="http://schemas.openxmlformats.org/officeDocument/2006/relationships/image" Target="../media/image7.png"/><Relationship Id="rId16" Type="http://schemas.openxmlformats.org/officeDocument/2006/relationships/image" Target="../media/image36.jpeg"/><Relationship Id="rId20" Type="http://schemas.openxmlformats.org/officeDocument/2006/relationships/image" Target="../media/image40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6.jpeg"/><Relationship Id="rId11" Type="http://schemas.openxmlformats.org/officeDocument/2006/relationships/image" Target="../media/image31.jpeg"/><Relationship Id="rId24" Type="http://schemas.openxmlformats.org/officeDocument/2006/relationships/image" Target="../media/image44.png"/><Relationship Id="rId5" Type="http://schemas.openxmlformats.org/officeDocument/2006/relationships/image" Target="../media/image25.jpeg"/><Relationship Id="rId15" Type="http://schemas.openxmlformats.org/officeDocument/2006/relationships/image" Target="../media/image35.jpeg"/><Relationship Id="rId23" Type="http://schemas.openxmlformats.org/officeDocument/2006/relationships/image" Target="../media/image43.png"/><Relationship Id="rId10" Type="http://schemas.openxmlformats.org/officeDocument/2006/relationships/image" Target="../media/image30.jpeg"/><Relationship Id="rId19" Type="http://schemas.openxmlformats.org/officeDocument/2006/relationships/image" Target="../media/image39.jpeg"/><Relationship Id="rId4" Type="http://schemas.openxmlformats.org/officeDocument/2006/relationships/image" Target="../media/image24.jpeg"/><Relationship Id="rId9" Type="http://schemas.openxmlformats.org/officeDocument/2006/relationships/image" Target="../media/image29.jpeg"/><Relationship Id="rId14" Type="http://schemas.openxmlformats.org/officeDocument/2006/relationships/image" Target="../media/image34.png"/><Relationship Id="rId22" Type="http://schemas.openxmlformats.org/officeDocument/2006/relationships/image" Target="../media/image4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rostokąt 4">
            <a:extLst>
              <a:ext uri="{FF2B5EF4-FFF2-40B4-BE49-F238E27FC236}">
                <a16:creationId xmlns:a16="http://schemas.microsoft.com/office/drawing/2014/main" id="{4D9F8FBE-9C89-4233-8F57-E8A5AF553057}"/>
              </a:ext>
            </a:extLst>
          </p:cNvPr>
          <p:cNvSpPr/>
          <p:nvPr/>
        </p:nvSpPr>
        <p:spPr>
          <a:xfrm>
            <a:off x="329791" y="1390112"/>
            <a:ext cx="11862209" cy="101566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ptos"/>
              </a:rPr>
              <a:t>Szkolenie informacyjne BHP dla gośc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2800" b="1" dirty="0">
                <a:solidFill>
                  <a:schemeClr val="bg1">
                    <a:lumMod val="6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ptos"/>
              </a:rPr>
              <a:t>EHS Induction training for visitors</a:t>
            </a:r>
            <a:endParaRPr kumimoji="0" lang="pl-PL" sz="28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ptos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ECDA1A6-C96F-2841-20F9-FDA2247523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168" y="2599329"/>
            <a:ext cx="4581525" cy="1000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Obraz 5" descr="Zasób 6.png">
            <a:extLst>
              <a:ext uri="{FF2B5EF4-FFF2-40B4-BE49-F238E27FC236}">
                <a16:creationId xmlns:a16="http://schemas.microsoft.com/office/drawing/2014/main" id="{A9E2F5F3-E7E4-F8FC-A69D-DB03658F0D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50648" y="3498112"/>
            <a:ext cx="3638170" cy="248730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7" name="pole tekstowe 6">
            <a:extLst>
              <a:ext uri="{FF2B5EF4-FFF2-40B4-BE49-F238E27FC236}">
                <a16:creationId xmlns:a16="http://schemas.microsoft.com/office/drawing/2014/main" id="{BC1FDF5C-F9DC-D99B-687D-4CF55027A8A2}"/>
              </a:ext>
            </a:extLst>
          </p:cNvPr>
          <p:cNvSpPr txBox="1"/>
          <p:nvPr/>
        </p:nvSpPr>
        <p:spPr>
          <a:xfrm>
            <a:off x="5537727" y="3803760"/>
            <a:ext cx="3064013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waga! Jeżeli projekt składa się z kilku różnych etapów, to dla każdego z nich należy opracować osobną prezentację dla gości.</a:t>
            </a:r>
            <a:endParaRPr lang="pl-PL" sz="16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pole tekstowe 7">
            <a:extLst>
              <a:ext uri="{FF2B5EF4-FFF2-40B4-BE49-F238E27FC236}">
                <a16:creationId xmlns:a16="http://schemas.microsoft.com/office/drawing/2014/main" id="{0AC98C84-C4A7-790C-26B7-8ADABCA73B1A}"/>
              </a:ext>
            </a:extLst>
          </p:cNvPr>
          <p:cNvSpPr txBox="1"/>
          <p:nvPr/>
        </p:nvSpPr>
        <p:spPr>
          <a:xfrm>
            <a:off x="9692083" y="6475480"/>
            <a:ext cx="24338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A REWIZJI: </a:t>
            </a:r>
            <a:r>
              <a:rPr lang="pl-PL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3.02.2025</a:t>
            </a:r>
          </a:p>
        </p:txBody>
      </p:sp>
      <p:pic>
        <p:nvPicPr>
          <p:cNvPr id="9" name="Obraz 8" descr="Zasób 6.png">
            <a:extLst>
              <a:ext uri="{FF2B5EF4-FFF2-40B4-BE49-F238E27FC236}">
                <a16:creationId xmlns:a16="http://schemas.microsoft.com/office/drawing/2014/main" id="{5CA441B6-80B5-2F53-DE03-398EAE4BA0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89919" y="4167964"/>
            <a:ext cx="2903607" cy="181745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0" name="pole tekstowe 9">
            <a:extLst>
              <a:ext uri="{FF2B5EF4-FFF2-40B4-BE49-F238E27FC236}">
                <a16:creationId xmlns:a16="http://schemas.microsoft.com/office/drawing/2014/main" id="{B91DD33C-0895-8B2C-FAB2-8ED6C6001F35}"/>
              </a:ext>
            </a:extLst>
          </p:cNvPr>
          <p:cNvSpPr txBox="1"/>
          <p:nvPr/>
        </p:nvSpPr>
        <p:spPr>
          <a:xfrm>
            <a:off x="9127987" y="4680923"/>
            <a:ext cx="306401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e zmieniać daty rewizji </a:t>
            </a:r>
          </a:p>
          <a:p>
            <a:r>
              <a:rPr lang="pl-PL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 stopce (data modyfikacji naniesionej przez dział BHPOŚ</a:t>
            </a:r>
            <a:endParaRPr lang="pl-PL" sz="16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36562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" name="Symbol zastępczy obrazu 68" descr="Obraz17.png"/>
          <p:cNvPicPr>
            <a:picLocks noGrp="1" noChangeAspect="1"/>
          </p:cNvPicPr>
          <p:nvPr>
            <p:ph type="pic" idx="1"/>
          </p:nvPr>
        </p:nvPicPr>
        <p:blipFill>
          <a:blip r:embed="rId3"/>
          <a:srcRect l="700" t="760" r="1960" b="7674"/>
          <a:stretch>
            <a:fillRect/>
          </a:stretch>
        </p:blipFill>
        <p:spPr>
          <a:xfrm>
            <a:off x="7285907" y="1878966"/>
            <a:ext cx="4850167" cy="3115720"/>
          </a:xfrm>
        </p:spPr>
      </p:pic>
      <p:sp>
        <p:nvSpPr>
          <p:cNvPr id="50" name="Tytuł 4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l-PL" sz="2200" dirty="0">
                <a:latin typeface="Aptos"/>
                <a:cs typeface="Arial" panose="020B0604020202020204" pitchFamily="34" charset="0"/>
              </a:rPr>
              <a:t>Zagrożenie praca na wysokości</a:t>
            </a:r>
            <a:br>
              <a:rPr lang="pl-PL" dirty="0">
                <a:latin typeface="Aptos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Hazard </a:t>
            </a:r>
            <a:r>
              <a:rPr lang="pl-PL" dirty="0" err="1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working</a:t>
            </a: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 at height</a:t>
            </a:r>
          </a:p>
        </p:txBody>
      </p:sp>
      <p:grpSp>
        <p:nvGrpSpPr>
          <p:cNvPr id="58" name="Grupa 57"/>
          <p:cNvGrpSpPr/>
          <p:nvPr/>
        </p:nvGrpSpPr>
        <p:grpSpPr>
          <a:xfrm>
            <a:off x="8044392" y="2296351"/>
            <a:ext cx="3109655" cy="2265298"/>
            <a:chOff x="5332307" y="2379180"/>
            <a:chExt cx="2133600" cy="1928418"/>
          </a:xfrm>
        </p:grpSpPr>
        <p:pic>
          <p:nvPicPr>
            <p:cNvPr id="57" name="Obraz 56" descr="Zasób 6.png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467230" y="2379180"/>
              <a:ext cx="1961181" cy="192077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54" name="Symbol zastępczy zawartości 33">
              <a:extLst>
                <a:ext uri="{FF2B5EF4-FFF2-40B4-BE49-F238E27FC236}">
                  <a16:creationId xmlns:a16="http://schemas.microsoft.com/office/drawing/2014/main" id="{CBBCC2DC-2621-432D-996C-C130D183622C}"/>
                </a:ext>
              </a:extLst>
            </p:cNvPr>
            <p:cNvSpPr txBox="1">
              <a:spLocks/>
            </p:cNvSpPr>
            <p:nvPr/>
          </p:nvSpPr>
          <p:spPr>
            <a:xfrm>
              <a:off x="5332307" y="2597217"/>
              <a:ext cx="2133600" cy="1710381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/>
            <a:p>
              <a:pPr marL="285750" marR="0" lvl="0" indent="-285750" algn="ctr" defTabSz="914377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535459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l-P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Gotham Book" pitchFamily="50" charset="0"/>
                  <a:cs typeface="Gotham Book" pitchFamily="50" charset="0"/>
                </a:rPr>
                <a:t>Wstaw aktualne zdjęcia z Twojej budowy</a:t>
              </a:r>
            </a:p>
            <a:p>
              <a:pPr marL="285750" marR="0" lvl="0" indent="-285750" algn="ctr" defTabSz="914377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535459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l-P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Gotham Book" pitchFamily="50" charset="0"/>
                  <a:cs typeface="Gotham Book" pitchFamily="50" charset="0"/>
                </a:rPr>
                <a:t> UWAGA! wybierz zdjęcia na których przestrzegane są zasady BHP</a:t>
              </a:r>
            </a:p>
          </p:txBody>
        </p:sp>
      </p:grpSp>
      <p:pic>
        <p:nvPicPr>
          <p:cNvPr id="8" name="Obraz 7">
            <a:extLst>
              <a:ext uri="{FF2B5EF4-FFF2-40B4-BE49-F238E27FC236}">
                <a16:creationId xmlns:a16="http://schemas.microsoft.com/office/drawing/2014/main" id="{D400CF5E-F7F0-2D06-701C-355D598881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1885" y="2102888"/>
            <a:ext cx="3294953" cy="2904578"/>
          </a:xfrm>
          <a:prstGeom prst="rect">
            <a:avLst/>
          </a:prstGeom>
        </p:spPr>
      </p:pic>
      <p:pic>
        <p:nvPicPr>
          <p:cNvPr id="10" name="Obraz 9">
            <a:extLst>
              <a:ext uri="{FF2B5EF4-FFF2-40B4-BE49-F238E27FC236}">
                <a16:creationId xmlns:a16="http://schemas.microsoft.com/office/drawing/2014/main" id="{BE922A79-B31D-9993-478A-965CDAC0392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83484" y="1982619"/>
            <a:ext cx="3440401" cy="3024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43813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Symbol zastępczy obrazu 44" descr="Obraz6.jpg"/>
          <p:cNvPicPr>
            <a:picLocks noGrp="1" noChangeAspect="1"/>
          </p:cNvPicPr>
          <p:nvPr>
            <p:ph type="pic" idx="1"/>
          </p:nvPr>
        </p:nvPicPr>
        <p:blipFill>
          <a:blip r:embed="rId3"/>
          <a:srcRect t="4534" b="4534"/>
          <a:stretch>
            <a:fillRect/>
          </a:stretch>
        </p:blipFill>
        <p:spPr>
          <a:xfrm>
            <a:off x="7288645" y="1982619"/>
            <a:ext cx="4903355" cy="2944972"/>
          </a:xfrm>
        </p:spPr>
      </p:pic>
      <p:sp>
        <p:nvSpPr>
          <p:cNvPr id="50" name="Tytuł 4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pl-PL" sz="2200" dirty="0">
                <a:latin typeface="Aptos"/>
                <a:cs typeface="Arial" panose="020B0604020202020204" pitchFamily="34" charset="0"/>
              </a:rPr>
              <a:t>Zagrożenie transport pionowy</a:t>
            </a:r>
            <a:br>
              <a:rPr lang="pl-PL" dirty="0">
                <a:latin typeface="Aptos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Hazard </a:t>
            </a:r>
            <a:r>
              <a:rPr lang="pl-PL" dirty="0" err="1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vertical</a:t>
            </a: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 transport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25FB19F5-0CE0-4219-289A-5B502D1788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25690" y="2093603"/>
            <a:ext cx="3370757" cy="2913863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29191E2D-BBA5-68B9-302B-03FB54B73A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6966" y="1982619"/>
            <a:ext cx="3440401" cy="3024847"/>
          </a:xfrm>
          <a:prstGeom prst="rect">
            <a:avLst/>
          </a:prstGeom>
        </p:spPr>
      </p:pic>
      <p:grpSp>
        <p:nvGrpSpPr>
          <p:cNvPr id="2" name="Grupa 1">
            <a:extLst>
              <a:ext uri="{FF2B5EF4-FFF2-40B4-BE49-F238E27FC236}">
                <a16:creationId xmlns:a16="http://schemas.microsoft.com/office/drawing/2014/main" id="{61A65AFC-9EC6-60BC-F869-248F0BC561BE}"/>
              </a:ext>
            </a:extLst>
          </p:cNvPr>
          <p:cNvGrpSpPr/>
          <p:nvPr/>
        </p:nvGrpSpPr>
        <p:grpSpPr>
          <a:xfrm>
            <a:off x="8198771" y="2422528"/>
            <a:ext cx="3109655" cy="2265298"/>
            <a:chOff x="5332307" y="2379180"/>
            <a:chExt cx="2133600" cy="1928418"/>
          </a:xfrm>
        </p:grpSpPr>
        <p:pic>
          <p:nvPicPr>
            <p:cNvPr id="3" name="Obraz 2" descr="Zasób 6.png">
              <a:extLst>
                <a:ext uri="{FF2B5EF4-FFF2-40B4-BE49-F238E27FC236}">
                  <a16:creationId xmlns:a16="http://schemas.microsoft.com/office/drawing/2014/main" id="{6DE31BA2-A687-81AA-8D33-B68DE7A6FC7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467230" y="2379180"/>
              <a:ext cx="1961181" cy="192077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4" name="Symbol zastępczy zawartości 33">
              <a:extLst>
                <a:ext uri="{FF2B5EF4-FFF2-40B4-BE49-F238E27FC236}">
                  <a16:creationId xmlns:a16="http://schemas.microsoft.com/office/drawing/2014/main" id="{A8A2FCF1-3A28-CB98-C2C2-A9BE6C2ADD6B}"/>
                </a:ext>
              </a:extLst>
            </p:cNvPr>
            <p:cNvSpPr txBox="1">
              <a:spLocks/>
            </p:cNvSpPr>
            <p:nvPr/>
          </p:nvSpPr>
          <p:spPr>
            <a:xfrm>
              <a:off x="5332307" y="2597217"/>
              <a:ext cx="2133600" cy="1710381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/>
            <a:p>
              <a:pPr marL="285750" marR="0" lvl="0" indent="-285750" algn="ctr" defTabSz="914377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535459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l-P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Gotham Book" pitchFamily="50" charset="0"/>
                  <a:cs typeface="Gotham Book" pitchFamily="50" charset="0"/>
                </a:rPr>
                <a:t>Wstaw aktualne zdjęcia z Twojej budowy</a:t>
              </a:r>
            </a:p>
            <a:p>
              <a:pPr marL="285750" marR="0" lvl="0" indent="-285750" algn="ctr" defTabSz="914377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535459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l-P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Gotham Book" pitchFamily="50" charset="0"/>
                  <a:cs typeface="Gotham Book" pitchFamily="50" charset="0"/>
                </a:rPr>
                <a:t> UWAGA! wybierz zdjęcia na których przestrzegane są zasady BH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043813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ymbol zastępczy obrazu 63" descr="Obraz3.jpg"/>
          <p:cNvPicPr>
            <a:picLocks noGrp="1" noChangeAspect="1"/>
          </p:cNvPicPr>
          <p:nvPr>
            <p:ph type="pic" idx="1"/>
          </p:nvPr>
        </p:nvPicPr>
        <p:blipFill>
          <a:blip r:embed="rId3"/>
          <a:srcRect l="1761" r="1761"/>
          <a:stretch>
            <a:fillRect/>
          </a:stretch>
        </p:blipFill>
        <p:spPr/>
      </p:pic>
      <p:sp>
        <p:nvSpPr>
          <p:cNvPr id="61" name="Tytuł 60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pl-PL" sz="2200" dirty="0">
                <a:latin typeface="Aptos"/>
                <a:cs typeface="Arial" panose="020B0604020202020204" pitchFamily="34" charset="0"/>
              </a:rPr>
              <a:t>Zagrożenie ruch kołowy</a:t>
            </a:r>
            <a:br>
              <a:rPr lang="pl-PL" dirty="0">
                <a:latin typeface="Aptos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Hazard wheel traffic</a:t>
            </a:r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FEFEE22B-75A8-B667-DB86-240B9912C4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42607" y="2017259"/>
            <a:ext cx="3386125" cy="2949670"/>
          </a:xfrm>
          <a:prstGeom prst="rect">
            <a:avLst/>
          </a:prstGeom>
        </p:spPr>
      </p:pic>
      <p:grpSp>
        <p:nvGrpSpPr>
          <p:cNvPr id="2" name="Grupa 1">
            <a:extLst>
              <a:ext uri="{FF2B5EF4-FFF2-40B4-BE49-F238E27FC236}">
                <a16:creationId xmlns:a16="http://schemas.microsoft.com/office/drawing/2014/main" id="{6D8F46A8-E8E9-6919-DDCA-44812A6B51E5}"/>
              </a:ext>
            </a:extLst>
          </p:cNvPr>
          <p:cNvGrpSpPr/>
          <p:nvPr/>
        </p:nvGrpSpPr>
        <p:grpSpPr>
          <a:xfrm>
            <a:off x="8198771" y="2422528"/>
            <a:ext cx="3109655" cy="2265298"/>
            <a:chOff x="5332307" y="2379180"/>
            <a:chExt cx="2133600" cy="1928418"/>
          </a:xfrm>
        </p:grpSpPr>
        <p:pic>
          <p:nvPicPr>
            <p:cNvPr id="3" name="Obraz 2" descr="Zasób 6.png">
              <a:extLst>
                <a:ext uri="{FF2B5EF4-FFF2-40B4-BE49-F238E27FC236}">
                  <a16:creationId xmlns:a16="http://schemas.microsoft.com/office/drawing/2014/main" id="{08E10637-4F30-B970-7EA5-4CED1356A71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467230" y="2379180"/>
              <a:ext cx="1961181" cy="192077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5" name="Symbol zastępczy zawartości 33">
              <a:extLst>
                <a:ext uri="{FF2B5EF4-FFF2-40B4-BE49-F238E27FC236}">
                  <a16:creationId xmlns:a16="http://schemas.microsoft.com/office/drawing/2014/main" id="{1541725D-8ECB-0A2B-BD17-FB25D3611F9F}"/>
                </a:ext>
              </a:extLst>
            </p:cNvPr>
            <p:cNvSpPr txBox="1">
              <a:spLocks/>
            </p:cNvSpPr>
            <p:nvPr/>
          </p:nvSpPr>
          <p:spPr>
            <a:xfrm>
              <a:off x="5332307" y="2597217"/>
              <a:ext cx="2133600" cy="1710381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/>
            <a:p>
              <a:pPr marL="285750" marR="0" lvl="0" indent="-285750" algn="ctr" defTabSz="914377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535459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l-P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Gotham Book" pitchFamily="50" charset="0"/>
                  <a:cs typeface="Gotham Book" pitchFamily="50" charset="0"/>
                </a:rPr>
                <a:t>Wstaw aktualne zdjęcia z Twojej budowy</a:t>
              </a:r>
            </a:p>
            <a:p>
              <a:pPr marL="285750" marR="0" lvl="0" indent="-285750" algn="ctr" defTabSz="914377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535459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l-P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Gotham Book" pitchFamily="50" charset="0"/>
                  <a:cs typeface="Gotham Book" pitchFamily="50" charset="0"/>
                </a:rPr>
                <a:t> UWAGA! wybierz zdjęcia na których przestrzegane są zasady BHP</a:t>
              </a:r>
            </a:p>
          </p:txBody>
        </p:sp>
      </p:grpSp>
      <p:pic>
        <p:nvPicPr>
          <p:cNvPr id="8" name="Obraz 7">
            <a:extLst>
              <a:ext uri="{FF2B5EF4-FFF2-40B4-BE49-F238E27FC236}">
                <a16:creationId xmlns:a16="http://schemas.microsoft.com/office/drawing/2014/main" id="{04559285-4869-A6BC-9587-41323E0C891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423"/>
          <a:stretch/>
        </p:blipFill>
        <p:spPr>
          <a:xfrm>
            <a:off x="436850" y="1801895"/>
            <a:ext cx="3386125" cy="3254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7068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Bhp podczas spawania - Infor.pl">
            <a:extLst>
              <a:ext uri="{FF2B5EF4-FFF2-40B4-BE49-F238E27FC236}">
                <a16:creationId xmlns:a16="http://schemas.microsoft.com/office/drawing/2014/main" id="{69CDEA30-3CB6-D1BA-07D1-847C889220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8953" y="3428999"/>
            <a:ext cx="4043851" cy="2694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Tytuł 47"/>
          <p:cNvSpPr txBox="1">
            <a:spLocks/>
          </p:cNvSpPr>
          <p:nvPr/>
        </p:nvSpPr>
        <p:spPr>
          <a:xfrm>
            <a:off x="266700" y="734785"/>
            <a:ext cx="11658599" cy="729948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ptos"/>
                <a:ea typeface="+mj-ea"/>
                <a:cs typeface="Arial" panose="020B0604020202020204" pitchFamily="34" charset="0"/>
              </a:rPr>
              <a:t>Zagrożenie prace gorące</a:t>
            </a:r>
            <a:br>
              <a:rPr kumimoji="0" lang="pl-PL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ptos"/>
                <a:ea typeface="+mj-ea"/>
                <a:cs typeface="Arial" panose="020B0604020202020204" pitchFamily="34" charset="0"/>
              </a:rPr>
            </a:br>
            <a:r>
              <a:rPr kumimoji="0" lang="pl-PL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ptos"/>
                <a:ea typeface="+mj-ea"/>
                <a:cs typeface="Arial" panose="020B0604020202020204" pitchFamily="34" charset="0"/>
              </a:rPr>
              <a:t>Hazard hot </a:t>
            </a:r>
            <a:r>
              <a:rPr kumimoji="0" lang="pl-PL" sz="2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ptos"/>
                <a:ea typeface="+mj-ea"/>
                <a:cs typeface="Arial" panose="020B0604020202020204" pitchFamily="34" charset="0"/>
              </a:rPr>
              <a:t>works</a:t>
            </a:r>
            <a:endParaRPr kumimoji="0" lang="pl-PL" sz="20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ptos"/>
              <a:ea typeface="+mj-ea"/>
              <a:cs typeface="Arial" panose="020B0604020202020204" pitchFamily="34" charset="0"/>
            </a:endParaRPr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F4980345-7548-7751-D6F4-01C521B152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6350" y="2104196"/>
            <a:ext cx="3345831" cy="2918901"/>
          </a:xfrm>
          <a:prstGeom prst="rect">
            <a:avLst/>
          </a:prstGeom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2EDF9206-FC9B-FA45-E5B2-B0235658AB2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8632" y="2045061"/>
            <a:ext cx="3345831" cy="2930552"/>
          </a:xfrm>
          <a:prstGeom prst="rect">
            <a:avLst/>
          </a:prstGeom>
        </p:spPr>
      </p:pic>
      <p:pic>
        <p:nvPicPr>
          <p:cNvPr id="1026" name="Picture 2" descr="Papa termozgrzewalna. Dobór papy termozgrzewalnej do pokrycia oraz zasady  jej układania - muratorplus.pl">
            <a:extLst>
              <a:ext uri="{FF2B5EF4-FFF2-40B4-BE49-F238E27FC236}">
                <a16:creationId xmlns:a16="http://schemas.microsoft.com/office/drawing/2014/main" id="{C6D2F5D1-B9C0-851D-1732-F3299F35EF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8953" y="734784"/>
            <a:ext cx="4038281" cy="2694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upa 1">
            <a:extLst>
              <a:ext uri="{FF2B5EF4-FFF2-40B4-BE49-F238E27FC236}">
                <a16:creationId xmlns:a16="http://schemas.microsoft.com/office/drawing/2014/main" id="{8D4ADC75-1FF9-666A-AD4D-BE9A979E5999}"/>
              </a:ext>
            </a:extLst>
          </p:cNvPr>
          <p:cNvGrpSpPr/>
          <p:nvPr/>
        </p:nvGrpSpPr>
        <p:grpSpPr>
          <a:xfrm>
            <a:off x="8198771" y="2422528"/>
            <a:ext cx="3109655" cy="2265298"/>
            <a:chOff x="5332307" y="2379180"/>
            <a:chExt cx="2133600" cy="1928418"/>
          </a:xfrm>
        </p:grpSpPr>
        <p:pic>
          <p:nvPicPr>
            <p:cNvPr id="3" name="Obraz 2" descr="Zasób 6.png">
              <a:extLst>
                <a:ext uri="{FF2B5EF4-FFF2-40B4-BE49-F238E27FC236}">
                  <a16:creationId xmlns:a16="http://schemas.microsoft.com/office/drawing/2014/main" id="{98A1CE2F-D6A2-1C17-C500-2EDC70DA48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467230" y="2379180"/>
              <a:ext cx="1961181" cy="192077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4" name="Symbol zastępczy zawartości 33">
              <a:extLst>
                <a:ext uri="{FF2B5EF4-FFF2-40B4-BE49-F238E27FC236}">
                  <a16:creationId xmlns:a16="http://schemas.microsoft.com/office/drawing/2014/main" id="{67C1B877-581D-5382-648E-58C6CB71C78E}"/>
                </a:ext>
              </a:extLst>
            </p:cNvPr>
            <p:cNvSpPr txBox="1">
              <a:spLocks/>
            </p:cNvSpPr>
            <p:nvPr/>
          </p:nvSpPr>
          <p:spPr>
            <a:xfrm>
              <a:off x="5332307" y="2597217"/>
              <a:ext cx="2133600" cy="1710381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/>
            <a:p>
              <a:pPr marL="285750" marR="0" lvl="0" indent="-285750" algn="ctr" defTabSz="914377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535459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l-P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Gotham Book" pitchFamily="50" charset="0"/>
                  <a:cs typeface="Gotham Book" pitchFamily="50" charset="0"/>
                </a:rPr>
                <a:t>Wstaw aktualne zdjęcia z Twojej budowy</a:t>
              </a:r>
            </a:p>
            <a:p>
              <a:pPr marL="285750" marR="0" lvl="0" indent="-285750" algn="ctr" defTabSz="914377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535459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l-P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Gotham Book" pitchFamily="50" charset="0"/>
                  <a:cs typeface="Gotham Book" pitchFamily="50" charset="0"/>
                </a:rPr>
                <a:t> UWAGA! wybierz zdjęcia na których przestrzegane są zasady BH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429586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ytuł 47"/>
          <p:cNvSpPr txBox="1">
            <a:spLocks/>
          </p:cNvSpPr>
          <p:nvPr/>
        </p:nvSpPr>
        <p:spPr>
          <a:xfrm>
            <a:off x="266700" y="734785"/>
            <a:ext cx="11658599" cy="729948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ptos"/>
                <a:ea typeface="+mj-ea"/>
                <a:cs typeface="Arial" panose="020B0604020202020204" pitchFamily="34" charset="0"/>
              </a:rPr>
              <a:t>Zagrożenie elektryczność</a:t>
            </a:r>
            <a:br>
              <a:rPr kumimoji="0" lang="pl-PL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ptos"/>
                <a:ea typeface="+mj-ea"/>
                <a:cs typeface="Arial" panose="020B0604020202020204" pitchFamily="34" charset="0"/>
              </a:rPr>
            </a:br>
            <a:r>
              <a:rPr kumimoji="0" lang="pl-PL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ptos"/>
                <a:ea typeface="+mj-ea"/>
                <a:cs typeface="Arial" panose="020B0604020202020204" pitchFamily="34" charset="0"/>
              </a:rPr>
              <a:t>Hazard </a:t>
            </a:r>
            <a:r>
              <a:rPr kumimoji="0" lang="pl-PL" sz="2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ptos"/>
                <a:ea typeface="+mj-ea"/>
                <a:cs typeface="Arial" panose="020B0604020202020204" pitchFamily="34" charset="0"/>
              </a:rPr>
              <a:t>electricity</a:t>
            </a:r>
            <a:endParaRPr kumimoji="0" lang="pl-PL" sz="20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ptos"/>
              <a:ea typeface="+mj-ea"/>
              <a:cs typeface="Arial" panose="020B0604020202020204" pitchFamily="34" charset="0"/>
            </a:endParaRPr>
          </a:p>
        </p:txBody>
      </p:sp>
      <p:pic>
        <p:nvPicPr>
          <p:cNvPr id="54" name="Symbol zastępczy obrazu 53" descr="Obraz2.jpg"/>
          <p:cNvPicPr>
            <a:picLocks noGrp="1" noChangeAspect="1"/>
          </p:cNvPicPr>
          <p:nvPr>
            <p:ph type="pic" idx="1"/>
          </p:nvPr>
        </p:nvPicPr>
        <p:blipFill>
          <a:blip r:embed="rId3"/>
          <a:srcRect t="9122" b="9122"/>
          <a:stretch>
            <a:fillRect/>
          </a:stretch>
        </p:blipFill>
        <p:spPr>
          <a:xfrm>
            <a:off x="7575611" y="2017259"/>
            <a:ext cx="4616389" cy="2910483"/>
          </a:xfrm>
        </p:spPr>
      </p:pic>
      <p:pic>
        <p:nvPicPr>
          <p:cNvPr id="5" name="Obraz 4">
            <a:extLst>
              <a:ext uri="{FF2B5EF4-FFF2-40B4-BE49-F238E27FC236}">
                <a16:creationId xmlns:a16="http://schemas.microsoft.com/office/drawing/2014/main" id="{A776E8A2-D5BB-2E28-CE55-A82FBC8BE4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2989" y="2185060"/>
            <a:ext cx="3177950" cy="2798762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47B9D111-1584-0EF5-6667-7B2039D0F0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42607" y="2017259"/>
            <a:ext cx="3386125" cy="2949670"/>
          </a:xfrm>
          <a:prstGeom prst="rect">
            <a:avLst/>
          </a:prstGeom>
        </p:spPr>
      </p:pic>
      <p:grpSp>
        <p:nvGrpSpPr>
          <p:cNvPr id="2" name="Grupa 1">
            <a:extLst>
              <a:ext uri="{FF2B5EF4-FFF2-40B4-BE49-F238E27FC236}">
                <a16:creationId xmlns:a16="http://schemas.microsoft.com/office/drawing/2014/main" id="{6F9400EB-7D6E-777A-38EE-2E9267B62397}"/>
              </a:ext>
            </a:extLst>
          </p:cNvPr>
          <p:cNvGrpSpPr/>
          <p:nvPr/>
        </p:nvGrpSpPr>
        <p:grpSpPr>
          <a:xfrm>
            <a:off x="8198771" y="2422528"/>
            <a:ext cx="3109655" cy="2265298"/>
            <a:chOff x="5332307" y="2379180"/>
            <a:chExt cx="2133600" cy="1928418"/>
          </a:xfrm>
        </p:grpSpPr>
        <p:pic>
          <p:nvPicPr>
            <p:cNvPr id="3" name="Obraz 2" descr="Zasób 6.png">
              <a:extLst>
                <a:ext uri="{FF2B5EF4-FFF2-40B4-BE49-F238E27FC236}">
                  <a16:creationId xmlns:a16="http://schemas.microsoft.com/office/drawing/2014/main" id="{DD090AEB-9D10-EFC4-30CF-D72E4A67021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467230" y="2379180"/>
              <a:ext cx="1961181" cy="192077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4" name="Symbol zastępczy zawartości 33">
              <a:extLst>
                <a:ext uri="{FF2B5EF4-FFF2-40B4-BE49-F238E27FC236}">
                  <a16:creationId xmlns:a16="http://schemas.microsoft.com/office/drawing/2014/main" id="{53716FBF-3389-D6CE-74CB-56468B2AE124}"/>
                </a:ext>
              </a:extLst>
            </p:cNvPr>
            <p:cNvSpPr txBox="1">
              <a:spLocks/>
            </p:cNvSpPr>
            <p:nvPr/>
          </p:nvSpPr>
          <p:spPr>
            <a:xfrm>
              <a:off x="5332307" y="2597217"/>
              <a:ext cx="2133600" cy="1710381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/>
            <a:p>
              <a:pPr marL="285750" marR="0" lvl="0" indent="-285750" algn="ctr" defTabSz="914377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535459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l-P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Gotham Book" pitchFamily="50" charset="0"/>
                  <a:cs typeface="Gotham Book" pitchFamily="50" charset="0"/>
                </a:rPr>
                <a:t>Wstaw aktualne zdjęcia z Twojej budowy</a:t>
              </a:r>
            </a:p>
            <a:p>
              <a:pPr marL="285750" marR="0" lvl="0" indent="-285750" algn="ctr" defTabSz="914377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535459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l-P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Gotham Book" pitchFamily="50" charset="0"/>
                  <a:cs typeface="Gotham Book" pitchFamily="50" charset="0"/>
                </a:rPr>
                <a:t> UWAGA! wybierz zdjęcia na których przestrzegane są zasady BH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104318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ymbol zastępczy obrazu 3" descr="Obraz zawierający tekst, wewnątrz, półka, napój&#10;&#10;Opis wygenerowany automatycznie">
            <a:extLst>
              <a:ext uri="{FF2B5EF4-FFF2-40B4-BE49-F238E27FC236}">
                <a16:creationId xmlns:a16="http://schemas.microsoft.com/office/drawing/2014/main" id="{0484DC8D-D17D-45B1-ABBB-6BD5B0A2B1B9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66" b="12566"/>
          <a:stretch>
            <a:fillRect/>
          </a:stretch>
        </p:blipFill>
        <p:spPr>
          <a:xfrm>
            <a:off x="7484241" y="992187"/>
            <a:ext cx="4727120" cy="48736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2" name="Tytuł 4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pl-PL" sz="2200" dirty="0">
                <a:latin typeface="Aptos"/>
                <a:cs typeface="Arial" panose="020B0604020202020204" pitchFamily="34" charset="0"/>
              </a:rPr>
              <a:t>Zagrożenie substancje niebezpieczne</a:t>
            </a:r>
            <a:br>
              <a:rPr lang="pl-PL" dirty="0">
                <a:latin typeface="Aptos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Hazardous </a:t>
            </a:r>
            <a:r>
              <a:rPr lang="pl-PL" dirty="0" err="1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substances</a:t>
            </a:r>
            <a:endParaRPr lang="pl-PL" dirty="0">
              <a:solidFill>
                <a:schemeClr val="bg1">
                  <a:lumMod val="50000"/>
                </a:schemeClr>
              </a:solidFill>
              <a:latin typeface="Aptos"/>
              <a:cs typeface="Arial" panose="020B0604020202020204" pitchFamily="34" charset="0"/>
            </a:endParaRPr>
          </a:p>
        </p:txBody>
      </p:sp>
      <p:pic>
        <p:nvPicPr>
          <p:cNvPr id="41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tretch>
            <a:fillRect/>
          </a:stretch>
        </p:blipFill>
        <p:spPr bwMode="auto">
          <a:xfrm>
            <a:off x="1904246" y="3215555"/>
            <a:ext cx="1333731" cy="1333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tretch>
            <a:fillRect/>
          </a:stretch>
        </p:blipFill>
        <p:spPr bwMode="auto">
          <a:xfrm>
            <a:off x="1116120" y="4282355"/>
            <a:ext cx="1333731" cy="1333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tretch>
            <a:fillRect/>
          </a:stretch>
        </p:blipFill>
        <p:spPr bwMode="auto">
          <a:xfrm>
            <a:off x="3524039" y="3232971"/>
            <a:ext cx="1333731" cy="1333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/>
          <a:stretch>
            <a:fillRect/>
          </a:stretch>
        </p:blipFill>
        <p:spPr bwMode="auto">
          <a:xfrm>
            <a:off x="2705434" y="4282355"/>
            <a:ext cx="1333731" cy="1333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tretch>
            <a:fillRect/>
          </a:stretch>
        </p:blipFill>
        <p:spPr bwMode="auto">
          <a:xfrm>
            <a:off x="4212018" y="4282355"/>
            <a:ext cx="1333731" cy="1333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/>
          <a:stretch>
            <a:fillRect/>
          </a:stretch>
        </p:blipFill>
        <p:spPr bwMode="auto">
          <a:xfrm>
            <a:off x="4212018" y="2005063"/>
            <a:ext cx="1333731" cy="1333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/>
          <a:stretch>
            <a:fillRect/>
          </a:stretch>
        </p:blipFill>
        <p:spPr bwMode="auto">
          <a:xfrm>
            <a:off x="2714142" y="1996623"/>
            <a:ext cx="1333731" cy="1333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/>
          <a:stretch>
            <a:fillRect/>
          </a:stretch>
        </p:blipFill>
        <p:spPr bwMode="auto">
          <a:xfrm>
            <a:off x="1111765" y="1996355"/>
            <a:ext cx="1333731" cy="1333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221629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Symbol zastępczy obrazu 48" descr="Obraz9.png"/>
          <p:cNvPicPr>
            <a:picLocks noGrp="1" noChangeAspect="1"/>
          </p:cNvPicPr>
          <p:nvPr>
            <p:ph type="pic" idx="1"/>
          </p:nvPr>
        </p:nvPicPr>
        <p:blipFill>
          <a:blip r:embed="rId3"/>
          <a:stretch>
            <a:fillRect/>
          </a:stretch>
        </p:blipFill>
        <p:spPr>
          <a:xfrm>
            <a:off x="1170449" y="1997493"/>
            <a:ext cx="2942857" cy="3247619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A10641B-75B7-4346-88BE-3556F7AF86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pl-PL" sz="2200" dirty="0">
                <a:latin typeface="Aptos"/>
                <a:cs typeface="Arial" panose="020B0604020202020204" pitchFamily="34" charset="0"/>
              </a:rPr>
              <a:t>Zgłoś jeżeli zauważyłeś</a:t>
            </a:r>
            <a:br>
              <a:rPr lang="pl-PL" dirty="0">
                <a:latin typeface="Aptos"/>
                <a:cs typeface="Arial" panose="020B0604020202020204" pitchFamily="34" charset="0"/>
              </a:rPr>
            </a:br>
            <a:r>
              <a:rPr lang="pl-PL" dirty="0" err="1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Inform</a:t>
            </a: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 your </a:t>
            </a:r>
            <a:r>
              <a:rPr lang="pl-PL" dirty="0" err="1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guide</a:t>
            </a: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 </a:t>
            </a:r>
            <a:r>
              <a:rPr lang="pl-PL" dirty="0" err="1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if</a:t>
            </a: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 </a:t>
            </a:r>
            <a:r>
              <a:rPr lang="pl-PL" dirty="0" err="1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you</a:t>
            </a: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 </a:t>
            </a:r>
            <a:r>
              <a:rPr lang="pl-PL" dirty="0" err="1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observe</a:t>
            </a:r>
            <a:endParaRPr lang="en-US" dirty="0">
              <a:solidFill>
                <a:schemeClr val="bg1">
                  <a:lumMod val="50000"/>
                </a:schemeClr>
              </a:solidFill>
              <a:latin typeface="Aptos"/>
              <a:cs typeface="Arial" panose="020B0604020202020204" pitchFamily="34" charset="0"/>
            </a:endParaRPr>
          </a:p>
        </p:txBody>
      </p:sp>
      <p:sp>
        <p:nvSpPr>
          <p:cNvPr id="34" name="Prostokąt 33">
            <a:extLst>
              <a:ext uri="{FF2B5EF4-FFF2-40B4-BE49-F238E27FC236}">
                <a16:creationId xmlns:a16="http://schemas.microsoft.com/office/drawing/2014/main" id="{AEB9C810-CFEA-4717-A8A2-9964AF19B7FE}"/>
              </a:ext>
            </a:extLst>
          </p:cNvPr>
          <p:cNvSpPr/>
          <p:nvPr/>
        </p:nvSpPr>
        <p:spPr>
          <a:xfrm>
            <a:off x="1078186" y="5264815"/>
            <a:ext cx="29713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pl-PL" sz="1600" dirty="0">
                <a:latin typeface="Aptos"/>
                <a:cs typeface="Gotham Book" pitchFamily="50" charset="0"/>
              </a:rPr>
              <a:t>Obserwacja</a:t>
            </a:r>
            <a:r>
              <a:rPr lang="pl-PL" sz="1600" dirty="0">
                <a:latin typeface="Aptos"/>
                <a:cs typeface="Gotham Light" pitchFamily="50" charset="0"/>
              </a:rPr>
              <a:t> </a:t>
            </a:r>
          </a:p>
          <a:p>
            <a:pPr algn="ctr">
              <a:spcBef>
                <a:spcPct val="0"/>
              </a:spcBef>
              <a:defRPr/>
            </a:pPr>
            <a:r>
              <a:rPr lang="pl-PL" sz="1600" dirty="0" err="1">
                <a:solidFill>
                  <a:schemeClr val="bg1">
                    <a:lumMod val="50000"/>
                  </a:schemeClr>
                </a:solidFill>
                <a:latin typeface="Aptos"/>
                <a:cs typeface="Gotham Light" pitchFamily="50" charset="0"/>
              </a:rPr>
              <a:t>Observation</a:t>
            </a:r>
            <a:endParaRPr lang="pl-PL" sz="1600" dirty="0">
              <a:solidFill>
                <a:schemeClr val="bg1">
                  <a:lumMod val="50000"/>
                </a:schemeClr>
              </a:solidFill>
              <a:latin typeface="Aptos"/>
              <a:cs typeface="Gotham Light" pitchFamily="50" charset="0"/>
            </a:endParaRPr>
          </a:p>
        </p:txBody>
      </p:sp>
      <p:pic>
        <p:nvPicPr>
          <p:cNvPr id="33" name="Obraz 32">
            <a:extLst>
              <a:ext uri="{FF2B5EF4-FFF2-40B4-BE49-F238E27FC236}">
                <a16:creationId xmlns:a16="http://schemas.microsoft.com/office/drawing/2014/main" id="{24077766-63A9-45EB-8E3E-96F30AE353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43419" y="2013529"/>
            <a:ext cx="2824329" cy="3267168"/>
          </a:xfrm>
          <a:prstGeom prst="rect">
            <a:avLst/>
          </a:prstGeom>
        </p:spPr>
      </p:pic>
      <p:pic>
        <p:nvPicPr>
          <p:cNvPr id="35" name="Obraz 34">
            <a:extLst>
              <a:ext uri="{FF2B5EF4-FFF2-40B4-BE49-F238E27FC236}">
                <a16:creationId xmlns:a16="http://schemas.microsoft.com/office/drawing/2014/main" id="{3B4068D5-31EA-43E6-99CA-D23D1F45E5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54383" y="2037481"/>
            <a:ext cx="2784176" cy="3243216"/>
          </a:xfrm>
          <a:prstGeom prst="rect">
            <a:avLst/>
          </a:prstGeom>
        </p:spPr>
      </p:pic>
      <p:sp>
        <p:nvSpPr>
          <p:cNvPr id="51" name="Prostokąt 50">
            <a:extLst>
              <a:ext uri="{FF2B5EF4-FFF2-40B4-BE49-F238E27FC236}">
                <a16:creationId xmlns:a16="http://schemas.microsoft.com/office/drawing/2014/main" id="{AEB9C810-CFEA-4717-A8A2-9964AF19B7FE}"/>
              </a:ext>
            </a:extLst>
          </p:cNvPr>
          <p:cNvSpPr/>
          <p:nvPr/>
        </p:nvSpPr>
        <p:spPr>
          <a:xfrm>
            <a:off x="4064688" y="5280697"/>
            <a:ext cx="418179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pl-PL" sz="1600" dirty="0">
                <a:latin typeface="Aptos"/>
                <a:cs typeface="Gotham Book" pitchFamily="50" charset="0"/>
              </a:rPr>
              <a:t>Zdarzenie potencjalnie wypadkowe</a:t>
            </a:r>
            <a:r>
              <a:rPr lang="pl-PL" sz="1600" dirty="0">
                <a:latin typeface="Aptos"/>
                <a:cs typeface="Gotham Light" pitchFamily="50" charset="0"/>
              </a:rPr>
              <a:t> </a:t>
            </a:r>
          </a:p>
          <a:p>
            <a:pPr algn="ctr">
              <a:spcBef>
                <a:spcPct val="0"/>
              </a:spcBef>
              <a:defRPr/>
            </a:pPr>
            <a:r>
              <a:rPr lang="pl-PL" sz="1600" dirty="0">
                <a:solidFill>
                  <a:schemeClr val="bg1">
                    <a:lumMod val="50000"/>
                  </a:schemeClr>
                </a:solidFill>
                <a:latin typeface="Aptos"/>
                <a:cs typeface="Gotham Light" pitchFamily="50" charset="0"/>
              </a:rPr>
              <a:t>Near miss</a:t>
            </a:r>
          </a:p>
        </p:txBody>
      </p:sp>
      <p:sp>
        <p:nvSpPr>
          <p:cNvPr id="52" name="Prostokąt 51">
            <a:extLst>
              <a:ext uri="{FF2B5EF4-FFF2-40B4-BE49-F238E27FC236}">
                <a16:creationId xmlns:a16="http://schemas.microsoft.com/office/drawing/2014/main" id="{AEB9C810-CFEA-4717-A8A2-9964AF19B7FE}"/>
              </a:ext>
            </a:extLst>
          </p:cNvPr>
          <p:cNvSpPr/>
          <p:nvPr/>
        </p:nvSpPr>
        <p:spPr>
          <a:xfrm>
            <a:off x="8484821" y="5264815"/>
            <a:ext cx="29713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pl-PL" sz="1600" dirty="0">
                <a:latin typeface="Aptos"/>
                <a:cs typeface="Gotham Book" pitchFamily="50" charset="0"/>
              </a:rPr>
              <a:t>Pierwsza pomoc / Wypadek </a:t>
            </a:r>
          </a:p>
          <a:p>
            <a:pPr algn="ctr">
              <a:spcBef>
                <a:spcPct val="0"/>
              </a:spcBef>
              <a:defRPr/>
            </a:pPr>
            <a:r>
              <a:rPr lang="pl-PL" sz="1600" dirty="0">
                <a:solidFill>
                  <a:schemeClr val="bg1">
                    <a:lumMod val="50000"/>
                  </a:schemeClr>
                </a:solidFill>
                <a:latin typeface="Aptos"/>
              </a:rPr>
              <a:t>First Aid/ </a:t>
            </a:r>
            <a:r>
              <a:rPr lang="pl-PL" sz="1600" dirty="0">
                <a:solidFill>
                  <a:schemeClr val="bg1">
                    <a:lumMod val="50000"/>
                  </a:schemeClr>
                </a:solidFill>
                <a:latin typeface="Aptos"/>
                <a:cs typeface="Gotham Light" pitchFamily="50" charset="0"/>
              </a:rPr>
              <a:t>Accident</a:t>
            </a:r>
          </a:p>
        </p:txBody>
      </p:sp>
    </p:spTree>
    <p:extLst>
      <p:ext uri="{BB962C8B-B14F-4D97-AF65-F5344CB8AC3E}">
        <p14:creationId xmlns:p14="http://schemas.microsoft.com/office/powerpoint/2010/main" val="16224362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93137F55-34E6-5847-46F4-ABA26CC89B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8416396"/>
              </p:ext>
            </p:extLst>
          </p:nvPr>
        </p:nvGraphicFramePr>
        <p:xfrm>
          <a:off x="180754" y="1318436"/>
          <a:ext cx="6039293" cy="47773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pole tekstowe 11">
            <a:extLst>
              <a:ext uri="{FF2B5EF4-FFF2-40B4-BE49-F238E27FC236}">
                <a16:creationId xmlns:a16="http://schemas.microsoft.com/office/drawing/2014/main" id="{7366FF9D-F65D-623C-8178-22937E24944C}"/>
              </a:ext>
            </a:extLst>
          </p:cNvPr>
          <p:cNvSpPr txBox="1"/>
          <p:nvPr/>
        </p:nvSpPr>
        <p:spPr>
          <a:xfrm>
            <a:off x="6215617" y="5342020"/>
            <a:ext cx="5980813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pl-PL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Zauważone i zaraportowane niebezpieczne warunki pracy lub niebezpieczne zachowania pracowników (w trakcie inspekcji, przeglądów partnerskich i wizyt ESSV)</a:t>
            </a:r>
          </a:p>
        </p:txBody>
      </p:sp>
      <p:cxnSp>
        <p:nvCxnSpPr>
          <p:cNvPr id="14" name="Łącznik prosty 13">
            <a:extLst>
              <a:ext uri="{FF2B5EF4-FFF2-40B4-BE49-F238E27FC236}">
                <a16:creationId xmlns:a16="http://schemas.microsoft.com/office/drawing/2014/main" id="{0E7BF14A-5576-A51E-000B-CA80BFEA6EC4}"/>
              </a:ext>
            </a:extLst>
          </p:cNvPr>
          <p:cNvCxnSpPr>
            <a:cxnSpLocks/>
          </p:cNvCxnSpPr>
          <p:nvPr/>
        </p:nvCxnSpPr>
        <p:spPr>
          <a:xfrm>
            <a:off x="2226761" y="2906769"/>
            <a:ext cx="9965239" cy="0"/>
          </a:xfrm>
          <a:prstGeom prst="line">
            <a:avLst/>
          </a:prstGeom>
          <a:ln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53000">
                  <a:schemeClr val="tx1">
                    <a:lumMod val="50000"/>
                    <a:lumOff val="50000"/>
                  </a:schemeClr>
                </a:gs>
                <a:gs pos="100000">
                  <a:schemeClr val="accent1">
                    <a:lumMod val="0"/>
                    <a:lumOff val="10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Łącznik prosty 14">
            <a:extLst>
              <a:ext uri="{FF2B5EF4-FFF2-40B4-BE49-F238E27FC236}">
                <a16:creationId xmlns:a16="http://schemas.microsoft.com/office/drawing/2014/main" id="{1AA491B8-4A31-A0B0-35F5-1B5C2800EB9C}"/>
              </a:ext>
            </a:extLst>
          </p:cNvPr>
          <p:cNvCxnSpPr>
            <a:cxnSpLocks/>
          </p:cNvCxnSpPr>
          <p:nvPr/>
        </p:nvCxnSpPr>
        <p:spPr>
          <a:xfrm flipV="1">
            <a:off x="1719691" y="3707119"/>
            <a:ext cx="10472309" cy="898"/>
          </a:xfrm>
          <a:prstGeom prst="line">
            <a:avLst/>
          </a:prstGeom>
          <a:ln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53000">
                  <a:schemeClr val="tx1">
                    <a:lumMod val="50000"/>
                    <a:lumOff val="50000"/>
                  </a:schemeClr>
                </a:gs>
                <a:gs pos="100000">
                  <a:schemeClr val="accent1">
                    <a:lumMod val="0"/>
                    <a:lumOff val="10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Łącznik prosty 16">
            <a:extLst>
              <a:ext uri="{FF2B5EF4-FFF2-40B4-BE49-F238E27FC236}">
                <a16:creationId xmlns:a16="http://schemas.microsoft.com/office/drawing/2014/main" id="{A1521C31-76B8-0439-7007-332E303AB188}"/>
              </a:ext>
            </a:extLst>
          </p:cNvPr>
          <p:cNvCxnSpPr>
            <a:cxnSpLocks/>
          </p:cNvCxnSpPr>
          <p:nvPr/>
        </p:nvCxnSpPr>
        <p:spPr>
          <a:xfrm>
            <a:off x="2746745" y="2103526"/>
            <a:ext cx="9445255" cy="0"/>
          </a:xfrm>
          <a:prstGeom prst="line">
            <a:avLst/>
          </a:prstGeom>
          <a:ln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53000">
                  <a:schemeClr val="tx1">
                    <a:lumMod val="50000"/>
                    <a:lumOff val="50000"/>
                  </a:schemeClr>
                </a:gs>
                <a:gs pos="100000">
                  <a:schemeClr val="accent1">
                    <a:lumMod val="0"/>
                    <a:lumOff val="10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Łącznik prosty 20">
            <a:extLst>
              <a:ext uri="{FF2B5EF4-FFF2-40B4-BE49-F238E27FC236}">
                <a16:creationId xmlns:a16="http://schemas.microsoft.com/office/drawing/2014/main" id="{9252E6C6-E3B4-3138-375E-8F8E4DF15872}"/>
              </a:ext>
            </a:extLst>
          </p:cNvPr>
          <p:cNvCxnSpPr>
            <a:cxnSpLocks/>
          </p:cNvCxnSpPr>
          <p:nvPr/>
        </p:nvCxnSpPr>
        <p:spPr>
          <a:xfrm>
            <a:off x="1222238" y="4510473"/>
            <a:ext cx="10969762" cy="0"/>
          </a:xfrm>
          <a:prstGeom prst="line">
            <a:avLst/>
          </a:prstGeom>
          <a:ln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53000">
                  <a:schemeClr val="tx1">
                    <a:lumMod val="50000"/>
                    <a:lumOff val="50000"/>
                  </a:schemeClr>
                </a:gs>
                <a:gs pos="100000">
                  <a:schemeClr val="accent1">
                    <a:lumMod val="0"/>
                    <a:lumOff val="10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pole tekstowe 22">
            <a:extLst>
              <a:ext uri="{FF2B5EF4-FFF2-40B4-BE49-F238E27FC236}">
                <a16:creationId xmlns:a16="http://schemas.microsoft.com/office/drawing/2014/main" id="{0A83D5DB-5D16-6B0F-BB14-C999C406AB6A}"/>
              </a:ext>
            </a:extLst>
          </p:cNvPr>
          <p:cNvSpPr txBox="1"/>
          <p:nvPr/>
        </p:nvSpPr>
        <p:spPr>
          <a:xfrm>
            <a:off x="5699052" y="3847635"/>
            <a:ext cx="649294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pl-PL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Pierwsza pomoc – drobne urazy, po udzieleniu pierwszej pomocy, bez utraty czasu pracy (bez zwolnienia lekarskiego)</a:t>
            </a:r>
          </a:p>
        </p:txBody>
      </p:sp>
      <p:sp>
        <p:nvSpPr>
          <p:cNvPr id="24" name="pole tekstowe 23">
            <a:extLst>
              <a:ext uri="{FF2B5EF4-FFF2-40B4-BE49-F238E27FC236}">
                <a16:creationId xmlns:a16="http://schemas.microsoft.com/office/drawing/2014/main" id="{E686CC80-DE31-7B77-CC12-F63A09BB0CBB}"/>
              </a:ext>
            </a:extLst>
          </p:cNvPr>
          <p:cNvSpPr txBox="1"/>
          <p:nvPr/>
        </p:nvSpPr>
        <p:spPr>
          <a:xfrm>
            <a:off x="5142615" y="2895952"/>
            <a:ext cx="704938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pl-PL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Zdarzenia potencjalnie wypadkowe (bez osób poszkodowanych) – istotne okoliczności i przyczyny – </a:t>
            </a:r>
            <a:r>
              <a:rPr lang="pl-PL" sz="1200" b="1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wymaga raportowania IAN.</a:t>
            </a:r>
          </a:p>
          <a:p>
            <a:pPr lvl="0"/>
            <a:r>
              <a:rPr lang="pl-PL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Ujawnione przypadki pracowników, wykonujących pracę pod wpływem alkoholu – obsługujących maszyny, pojazdy lub urządzenia i/lub wykonujących prace szczególnie niebezpieczne (np. prace na wysokości)</a:t>
            </a:r>
          </a:p>
        </p:txBody>
      </p:sp>
      <p:sp>
        <p:nvSpPr>
          <p:cNvPr id="25" name="pole tekstowe 24">
            <a:extLst>
              <a:ext uri="{FF2B5EF4-FFF2-40B4-BE49-F238E27FC236}">
                <a16:creationId xmlns:a16="http://schemas.microsoft.com/office/drawing/2014/main" id="{12C1647A-2922-C82C-0DFF-3E383E7B1135}"/>
              </a:ext>
            </a:extLst>
          </p:cNvPr>
          <p:cNvSpPr txBox="1"/>
          <p:nvPr/>
        </p:nvSpPr>
        <p:spPr>
          <a:xfrm>
            <a:off x="4543647" y="2241106"/>
            <a:ext cx="764835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pl-PL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Zdarzenie nagłe, które powoduje uraz i czasową niezdolność do pracy (zwolnienie lekarskie), nastąpiło w związku z wykonywaną pracę, spowodowane czynnikiem zewnętrznym</a:t>
            </a:r>
          </a:p>
        </p:txBody>
      </p:sp>
      <p:sp>
        <p:nvSpPr>
          <p:cNvPr id="26" name="pole tekstowe 25">
            <a:extLst>
              <a:ext uri="{FF2B5EF4-FFF2-40B4-BE49-F238E27FC236}">
                <a16:creationId xmlns:a16="http://schemas.microsoft.com/office/drawing/2014/main" id="{D9711AC4-E443-932B-AA72-A136B68AF052}"/>
              </a:ext>
            </a:extLst>
          </p:cNvPr>
          <p:cNvSpPr txBox="1"/>
          <p:nvPr/>
        </p:nvSpPr>
        <p:spPr>
          <a:xfrm>
            <a:off x="3868480" y="1644179"/>
            <a:ext cx="832706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pl-PL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Wypadek przy pracy, w wyniku którego doszło do śmierci osoby poszkodowanej</a:t>
            </a:r>
          </a:p>
        </p:txBody>
      </p:sp>
      <p:sp>
        <p:nvSpPr>
          <p:cNvPr id="4" name="pole tekstowe 3">
            <a:extLst>
              <a:ext uri="{FF2B5EF4-FFF2-40B4-BE49-F238E27FC236}">
                <a16:creationId xmlns:a16="http://schemas.microsoft.com/office/drawing/2014/main" id="{A53ED4B3-E6F8-ED15-FA89-5EA0179D691A}"/>
              </a:ext>
            </a:extLst>
          </p:cNvPr>
          <p:cNvSpPr txBox="1"/>
          <p:nvPr/>
        </p:nvSpPr>
        <p:spPr>
          <a:xfrm>
            <a:off x="5872844" y="4506163"/>
            <a:ext cx="631915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Małe incydenty zaraportowane</a:t>
            </a:r>
            <a:r>
              <a:rPr kumimoji="0" lang="pl-PL" sz="1400" b="1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*</a:t>
            </a: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 w trakcie inspekcji, przeglądów partnerskich, wizyt ESSV (duże ryzyko wystąpienia zdarzenia wypadkowego, bez osób poszkodowanych).</a:t>
            </a:r>
          </a:p>
        </p:txBody>
      </p:sp>
      <p:cxnSp>
        <p:nvCxnSpPr>
          <p:cNvPr id="5" name="Łącznik prosty 4">
            <a:extLst>
              <a:ext uri="{FF2B5EF4-FFF2-40B4-BE49-F238E27FC236}">
                <a16:creationId xmlns:a16="http://schemas.microsoft.com/office/drawing/2014/main" id="{F989E6A8-C642-88D6-72C2-F1B2A07F9FE6}"/>
              </a:ext>
            </a:extLst>
          </p:cNvPr>
          <p:cNvCxnSpPr>
            <a:cxnSpLocks/>
          </p:cNvCxnSpPr>
          <p:nvPr/>
        </p:nvCxnSpPr>
        <p:spPr>
          <a:xfrm>
            <a:off x="710609" y="5326901"/>
            <a:ext cx="11405190" cy="0"/>
          </a:xfrm>
          <a:prstGeom prst="line">
            <a:avLst/>
          </a:prstGeom>
          <a:ln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53000">
                  <a:schemeClr val="tx1">
                    <a:lumMod val="50000"/>
                    <a:lumOff val="50000"/>
                  </a:schemeClr>
                </a:gs>
                <a:gs pos="100000">
                  <a:schemeClr val="accent1">
                    <a:lumMod val="0"/>
                    <a:lumOff val="10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12623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a 23"/>
          <p:cNvGrpSpPr/>
          <p:nvPr/>
        </p:nvGrpSpPr>
        <p:grpSpPr>
          <a:xfrm>
            <a:off x="-21018" y="551504"/>
            <a:ext cx="8170865" cy="5541117"/>
            <a:chOff x="1284073" y="1442947"/>
            <a:chExt cx="6802435" cy="4465393"/>
          </a:xfrm>
        </p:grpSpPr>
        <p:sp>
          <p:nvSpPr>
            <p:cNvPr id="5" name="TextBox 26">
              <a:extLst>
                <a:ext uri="{FF2B5EF4-FFF2-40B4-BE49-F238E27FC236}">
                  <a16:creationId xmlns:a16="http://schemas.microsoft.com/office/drawing/2014/main" id="{71AA3144-3754-406F-A227-6A726A1EF0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62378" y="1538312"/>
              <a:ext cx="3185016" cy="409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50000"/>
                </a:spcBef>
                <a:buFont typeface="Arial" panose="020B0604020202020204" pitchFamily="34" charset="0"/>
                <a:buChar char="−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−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LICZBA PRACOWNIKÓW FIZYCZNYCH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N</a:t>
              </a:r>
              <a:r>
                <a:rPr kumimoji="0" lang="pl-PL" altLang="pl-PL" sz="1200" b="0" i="0" u="none" strike="noStrike" kern="1200" cap="none" spc="0" normalizeH="0" baseline="3000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o</a:t>
              </a:r>
              <a:r>
                <a:rPr kumimoji="0" lang="pl-PL" altLang="pl-P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 of </a:t>
              </a:r>
              <a:r>
                <a:rPr kumimoji="0" lang="pl-PL" altLang="pl-PL" sz="12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employees</a:t>
              </a:r>
              <a:endParaRPr kumimoji="0" lang="en-US" altLang="pl-P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endParaRPr>
            </a:p>
          </p:txBody>
        </p:sp>
        <p:sp>
          <p:nvSpPr>
            <p:cNvPr id="6" name="TextBox 26">
              <a:extLst>
                <a:ext uri="{FF2B5EF4-FFF2-40B4-BE49-F238E27FC236}">
                  <a16:creationId xmlns:a16="http://schemas.microsoft.com/office/drawing/2014/main" id="{71AA3144-3754-406F-A227-6A726A1EF0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84073" y="2143865"/>
              <a:ext cx="3257517" cy="4340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50000"/>
                </a:spcBef>
                <a:buFont typeface="Arial" panose="020B0604020202020204" pitchFamily="34" charset="0"/>
                <a:buChar char="−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−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LICZBA PRACOWNIKÓW NADZORU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N</a:t>
              </a:r>
              <a:r>
                <a:rPr kumimoji="0" lang="pl-PL" altLang="pl-PL" sz="1400" b="0" i="0" u="none" strike="noStrike" kern="1200" cap="none" spc="0" normalizeH="0" baseline="3000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o</a:t>
              </a:r>
              <a:r>
                <a:rPr kumimoji="0" lang="pl-PL" altLang="pl-PL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 of </a:t>
              </a:r>
              <a:r>
                <a:rPr kumimoji="0" lang="pl-PL" altLang="pl-PL" sz="14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supervision</a:t>
              </a:r>
              <a:r>
                <a:rPr kumimoji="0" lang="pl-PL" altLang="pl-PL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 </a:t>
              </a:r>
              <a:r>
                <a:rPr kumimoji="0" lang="pl-PL" altLang="pl-PL" sz="14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employees</a:t>
              </a:r>
              <a:endParaRPr kumimoji="0" lang="en-US" altLang="pl-PL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endParaRPr>
            </a:p>
          </p:txBody>
        </p:sp>
        <p:sp>
          <p:nvSpPr>
            <p:cNvPr id="7" name="TextBox 26">
              <a:extLst>
                <a:ext uri="{FF2B5EF4-FFF2-40B4-BE49-F238E27FC236}">
                  <a16:creationId xmlns:a16="http://schemas.microsoft.com/office/drawing/2014/main" id="{71AA3144-3754-406F-A227-6A726A1EF0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33681" y="3567266"/>
              <a:ext cx="3257517" cy="471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50000"/>
                </a:spcBef>
                <a:buFont typeface="Arial" panose="020B0604020202020204" pitchFamily="34" charset="0"/>
                <a:buChar char="−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−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WYPADKI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6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Accidents</a:t>
              </a:r>
              <a:endParaRPr kumimoji="0" lang="en-US" alt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endParaRPr>
            </a:p>
          </p:txBody>
        </p:sp>
        <p:sp>
          <p:nvSpPr>
            <p:cNvPr id="8" name="TextBox 26">
              <a:extLst>
                <a:ext uri="{FF2B5EF4-FFF2-40B4-BE49-F238E27FC236}">
                  <a16:creationId xmlns:a16="http://schemas.microsoft.com/office/drawing/2014/main" id="{71AA3144-3754-406F-A227-6A726A1EF0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62378" y="4485992"/>
              <a:ext cx="3328820" cy="471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50000"/>
                </a:spcBef>
                <a:buFont typeface="Arial" panose="020B0604020202020204" pitchFamily="34" charset="0"/>
                <a:buChar char="−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−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PIERWSZA POMOC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First Aid </a:t>
              </a:r>
              <a:endParaRPr kumimoji="0" lang="en-US" alt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endParaRPr>
            </a:p>
          </p:txBody>
        </p:sp>
        <p:sp>
          <p:nvSpPr>
            <p:cNvPr id="10" name="TextBox 26">
              <a:extLst>
                <a:ext uri="{FF2B5EF4-FFF2-40B4-BE49-F238E27FC236}">
                  <a16:creationId xmlns:a16="http://schemas.microsoft.com/office/drawing/2014/main" id="{71AA3144-3754-406F-A227-6A726A1EF0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33681" y="5437090"/>
              <a:ext cx="3257517" cy="471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50000"/>
                </a:spcBef>
                <a:buFont typeface="Arial" panose="020B0604020202020204" pitchFamily="34" charset="0"/>
                <a:buChar char="−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−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l-PL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OBSERWACJE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l-PL" sz="16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Observations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endParaRPr>
            </a:p>
          </p:txBody>
        </p:sp>
        <p:grpSp>
          <p:nvGrpSpPr>
            <p:cNvPr id="2" name="Grupa 22"/>
            <p:cNvGrpSpPr/>
            <p:nvPr/>
          </p:nvGrpSpPr>
          <p:grpSpPr>
            <a:xfrm>
              <a:off x="4619895" y="1442947"/>
              <a:ext cx="1558507" cy="546365"/>
              <a:chOff x="4612095" y="1442948"/>
              <a:chExt cx="1558507" cy="546365"/>
            </a:xfrm>
            <a:solidFill>
              <a:schemeClr val="bg1"/>
            </a:solidFill>
          </p:grpSpPr>
          <p:sp>
            <p:nvSpPr>
              <p:cNvPr id="13" name="Prostokąt zaokrąglony 12"/>
              <p:cNvSpPr/>
              <p:nvPr/>
            </p:nvSpPr>
            <p:spPr>
              <a:xfrm>
                <a:off x="4612095" y="1442948"/>
                <a:ext cx="457200" cy="545123"/>
              </a:xfrm>
              <a:prstGeom prst="roundRect">
                <a:avLst/>
              </a:prstGeom>
              <a:grpFill/>
              <a:ln w="12700">
                <a:solidFill>
                  <a:schemeClr val="bg2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Gotham Book" pitchFamily="50" charset="0"/>
                    <a:ea typeface="+mn-ea"/>
                    <a:cs typeface="Gotham Book" pitchFamily="50" charset="0"/>
                  </a:rPr>
                  <a:t>0</a:t>
                </a:r>
              </a:p>
            </p:txBody>
          </p:sp>
          <p:sp>
            <p:nvSpPr>
              <p:cNvPr id="14" name="Prostokąt zaokrąglony 13"/>
              <p:cNvSpPr/>
              <p:nvPr/>
            </p:nvSpPr>
            <p:spPr>
              <a:xfrm>
                <a:off x="5165653" y="1442948"/>
                <a:ext cx="457200" cy="516173"/>
              </a:xfrm>
              <a:prstGeom prst="roundRect">
                <a:avLst/>
              </a:prstGeom>
              <a:grpFill/>
              <a:ln w="12700">
                <a:solidFill>
                  <a:schemeClr val="bg2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Gotham Book" pitchFamily="50" charset="0"/>
                    <a:ea typeface="+mn-ea"/>
                    <a:cs typeface="Gotham Book" pitchFamily="50" charset="0"/>
                  </a:rPr>
                  <a:t>0</a:t>
                </a:r>
              </a:p>
            </p:txBody>
          </p:sp>
          <p:sp>
            <p:nvSpPr>
              <p:cNvPr id="15" name="Prostokąt zaokrąglony 14"/>
              <p:cNvSpPr/>
              <p:nvPr/>
            </p:nvSpPr>
            <p:spPr>
              <a:xfrm>
                <a:off x="5713402" y="1444190"/>
                <a:ext cx="457200" cy="545123"/>
              </a:xfrm>
              <a:prstGeom prst="roundRect">
                <a:avLst/>
              </a:prstGeom>
              <a:grpFill/>
              <a:ln w="12700">
                <a:solidFill>
                  <a:schemeClr val="bg2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Gotham Book" pitchFamily="50" charset="0"/>
                    <a:ea typeface="+mn-ea"/>
                    <a:cs typeface="Gotham Book" pitchFamily="50" charset="0"/>
                  </a:rPr>
                  <a:t>0</a:t>
                </a:r>
              </a:p>
            </p:txBody>
          </p:sp>
        </p:grpSp>
        <p:grpSp>
          <p:nvGrpSpPr>
            <p:cNvPr id="3" name="Grupa 21"/>
            <p:cNvGrpSpPr/>
            <p:nvPr/>
          </p:nvGrpSpPr>
          <p:grpSpPr>
            <a:xfrm>
              <a:off x="4614091" y="2070570"/>
              <a:ext cx="1564312" cy="575315"/>
              <a:chOff x="4758691" y="1256971"/>
              <a:chExt cx="1564312" cy="575315"/>
            </a:xfrm>
            <a:solidFill>
              <a:schemeClr val="bg1"/>
            </a:solidFill>
          </p:grpSpPr>
          <p:sp>
            <p:nvSpPr>
              <p:cNvPr id="19" name="Prostokąt zaokrąglony 18"/>
              <p:cNvSpPr/>
              <p:nvPr/>
            </p:nvSpPr>
            <p:spPr>
              <a:xfrm>
                <a:off x="4758691" y="1256971"/>
                <a:ext cx="457200" cy="545123"/>
              </a:xfrm>
              <a:prstGeom prst="roundRect">
                <a:avLst/>
              </a:prstGeom>
              <a:grpFill/>
              <a:ln w="12700">
                <a:solidFill>
                  <a:schemeClr val="bg2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Gotham Book" pitchFamily="50" charset="0"/>
                    <a:ea typeface="+mn-ea"/>
                    <a:cs typeface="Gotham Book" pitchFamily="50" charset="0"/>
                  </a:rPr>
                  <a:t>0</a:t>
                </a:r>
              </a:p>
            </p:txBody>
          </p:sp>
          <p:sp>
            <p:nvSpPr>
              <p:cNvPr id="20" name="Prostokąt zaokrąglony 19"/>
              <p:cNvSpPr/>
              <p:nvPr/>
            </p:nvSpPr>
            <p:spPr>
              <a:xfrm>
                <a:off x="5312247" y="1287163"/>
                <a:ext cx="457200" cy="545123"/>
              </a:xfrm>
              <a:prstGeom prst="roundRect">
                <a:avLst/>
              </a:prstGeom>
              <a:grpFill/>
              <a:ln w="12700">
                <a:solidFill>
                  <a:schemeClr val="bg2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Gotham Book" pitchFamily="50" charset="0"/>
                    <a:ea typeface="+mn-ea"/>
                    <a:cs typeface="Gotham Book" pitchFamily="50" charset="0"/>
                  </a:rPr>
                  <a:t>0</a:t>
                </a:r>
              </a:p>
            </p:txBody>
          </p:sp>
          <p:sp>
            <p:nvSpPr>
              <p:cNvPr id="21" name="Prostokąt zaokrąglony 20"/>
              <p:cNvSpPr/>
              <p:nvPr/>
            </p:nvSpPr>
            <p:spPr>
              <a:xfrm>
                <a:off x="5865803" y="1256971"/>
                <a:ext cx="457200" cy="545123"/>
              </a:xfrm>
              <a:prstGeom prst="roundRect">
                <a:avLst/>
              </a:prstGeom>
              <a:grpFill/>
              <a:ln w="12700">
                <a:solidFill>
                  <a:schemeClr val="bg2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Gotham Book" pitchFamily="50" charset="0"/>
                    <a:ea typeface="+mn-ea"/>
                    <a:cs typeface="Gotham Book" pitchFamily="50" charset="0"/>
                  </a:rPr>
                  <a:t>0</a:t>
                </a:r>
              </a:p>
            </p:txBody>
          </p:sp>
        </p:grpSp>
        <p:sp>
          <p:nvSpPr>
            <p:cNvPr id="25" name="Prostokąt zaokrąglony 24"/>
            <p:cNvSpPr/>
            <p:nvPr/>
          </p:nvSpPr>
          <p:spPr>
            <a:xfrm>
              <a:off x="6112748" y="3648098"/>
              <a:ext cx="1641156" cy="342338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rgbClr val="FF0000"/>
              </a:solidFill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Gotham Book" pitchFamily="50" charset="0"/>
                  <a:ea typeface="+mn-ea"/>
                  <a:cs typeface="Gotham Book" pitchFamily="50" charset="0"/>
                </a:rPr>
                <a:t>0</a:t>
              </a:r>
            </a:p>
          </p:txBody>
        </p:sp>
        <p:sp>
          <p:nvSpPr>
            <p:cNvPr id="33" name="Prostokąt zaokrąglony 32"/>
            <p:cNvSpPr/>
            <p:nvPr/>
          </p:nvSpPr>
          <p:spPr>
            <a:xfrm>
              <a:off x="5780145" y="4103310"/>
              <a:ext cx="2306363" cy="342338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rgbClr val="FFFF00"/>
              </a:solidFill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Gotham Book" pitchFamily="50" charset="0"/>
                  <a:ea typeface="+mn-ea"/>
                  <a:cs typeface="Gotham Book" pitchFamily="50" charset="0"/>
                </a:rPr>
                <a:t>0</a:t>
              </a:r>
            </a:p>
          </p:txBody>
        </p:sp>
      </p:grpSp>
      <p:sp>
        <p:nvSpPr>
          <p:cNvPr id="23" name="TextBox 26">
            <a:extLst>
              <a:ext uri="{FF2B5EF4-FFF2-40B4-BE49-F238E27FC236}">
                <a16:creationId xmlns:a16="http://schemas.microsoft.com/office/drawing/2014/main" id="{9E372B2D-BDFE-C217-D52B-93CDEF17F35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98382" y="1536344"/>
            <a:ext cx="2572889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50000"/>
              </a:spcBef>
              <a:buFont typeface="Arial" panose="020B0604020202020204" pitchFamily="34" charset="0"/>
              <a:buChar char="−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−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LICZBA WYSTAWIONYCH ŻÓŁTYCH KARTEK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No. of </a:t>
            </a:r>
            <a:r>
              <a:rPr kumimoji="0" lang="pl-PL" altLang="pl-PL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obtained</a:t>
            </a:r>
            <a:r>
              <a:rPr kumimoji="0" lang="pl-PL" alt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 </a:t>
            </a:r>
            <a:r>
              <a:rPr kumimoji="0" lang="pl-PL" altLang="pl-PL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yellow</a:t>
            </a:r>
            <a:r>
              <a:rPr kumimoji="0" lang="pl-PL" alt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 </a:t>
            </a:r>
            <a:r>
              <a:rPr kumimoji="0" lang="pl-PL" altLang="pl-PL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cards</a:t>
            </a:r>
            <a:endParaRPr kumimoji="0" lang="en-US" altLang="pl-PL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/>
              <a:cs typeface="Arial" panose="020B0604020202020204" pitchFamily="34" charset="0"/>
            </a:endParaRPr>
          </a:p>
        </p:txBody>
      </p:sp>
      <p:sp>
        <p:nvSpPr>
          <p:cNvPr id="26" name="TextBox 26">
            <a:extLst>
              <a:ext uri="{FF2B5EF4-FFF2-40B4-BE49-F238E27FC236}">
                <a16:creationId xmlns:a16="http://schemas.microsoft.com/office/drawing/2014/main" id="{FDE4A8BF-6A11-60E0-3627-20D664DB50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56475" y="626198"/>
            <a:ext cx="2572889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50000"/>
              </a:spcBef>
              <a:buFont typeface="Arial" panose="020B0604020202020204" pitchFamily="34" charset="0"/>
              <a:buChar char="−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−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LICZBA WYSTAWIONYCH CZERWONYCH KARTEK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altLang="pl-PL" sz="1400" dirty="0">
                <a:solidFill>
                  <a:prstClr val="black"/>
                </a:solidFill>
                <a:latin typeface="Aptos"/>
                <a:cs typeface="Arial" panose="020B0604020202020204" pitchFamily="34" charset="0"/>
              </a:rPr>
              <a:t>No. of </a:t>
            </a:r>
            <a:r>
              <a:rPr lang="pl-PL" altLang="pl-PL" sz="1400" dirty="0" err="1">
                <a:solidFill>
                  <a:prstClr val="black"/>
                </a:solidFill>
                <a:latin typeface="Aptos"/>
                <a:cs typeface="Arial" panose="020B0604020202020204" pitchFamily="34" charset="0"/>
              </a:rPr>
              <a:t>obtained</a:t>
            </a:r>
            <a:r>
              <a:rPr lang="pl-PL" altLang="pl-PL" sz="1400" dirty="0">
                <a:solidFill>
                  <a:prstClr val="black"/>
                </a:solidFill>
                <a:latin typeface="Aptos"/>
                <a:cs typeface="Arial" panose="020B0604020202020204" pitchFamily="34" charset="0"/>
              </a:rPr>
              <a:t> red </a:t>
            </a:r>
            <a:r>
              <a:rPr lang="pl-PL" altLang="pl-PL" sz="1400" dirty="0" err="1">
                <a:solidFill>
                  <a:prstClr val="black"/>
                </a:solidFill>
                <a:latin typeface="Aptos"/>
                <a:cs typeface="Arial" panose="020B0604020202020204" pitchFamily="34" charset="0"/>
              </a:rPr>
              <a:t>cards</a:t>
            </a:r>
            <a:endParaRPr kumimoji="0" lang="en-US" altLang="pl-PL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8E4E604-6A03-A731-1BEF-0552F09392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66311" y="2308905"/>
            <a:ext cx="2572889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50000"/>
              </a:spcBef>
              <a:buFont typeface="Arial" panose="020B0604020202020204" pitchFamily="34" charset="0"/>
              <a:buChar char="−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−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altLang="pl-PL" sz="1400" dirty="0">
                <a:solidFill>
                  <a:prstClr val="black"/>
                </a:solidFill>
                <a:latin typeface="Aptos"/>
                <a:cs typeface="Arial" panose="020B0604020202020204" pitchFamily="34" charset="0"/>
              </a:rPr>
              <a:t>LICZBA PRZYZNANYCH NAGRÓD BHP</a:t>
            </a:r>
            <a:endParaRPr kumimoji="0" lang="pl-PL" altLang="pl-PL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/>
              <a:cs typeface="Arial" panose="020B060402020202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altLang="pl-PL" sz="1400" dirty="0">
                <a:solidFill>
                  <a:prstClr val="black"/>
                </a:solidFill>
                <a:latin typeface="Aptos"/>
                <a:cs typeface="Arial" panose="020B0604020202020204" pitchFamily="34" charset="0"/>
              </a:rPr>
              <a:t>No. of </a:t>
            </a:r>
            <a:r>
              <a:rPr lang="pl-PL" altLang="pl-PL" sz="1400" dirty="0" err="1">
                <a:solidFill>
                  <a:prstClr val="black"/>
                </a:solidFill>
                <a:latin typeface="Aptos"/>
                <a:cs typeface="Arial" panose="020B0604020202020204" pitchFamily="34" charset="0"/>
              </a:rPr>
              <a:t>issued</a:t>
            </a:r>
            <a:r>
              <a:rPr lang="pl-PL" altLang="pl-PL" sz="1400" dirty="0">
                <a:solidFill>
                  <a:prstClr val="black"/>
                </a:solidFill>
                <a:latin typeface="Aptos"/>
                <a:cs typeface="Arial" panose="020B0604020202020204" pitchFamily="34" charset="0"/>
              </a:rPr>
              <a:t> EHS </a:t>
            </a:r>
            <a:r>
              <a:rPr lang="pl-PL" altLang="pl-PL" sz="1400" dirty="0" err="1">
                <a:solidFill>
                  <a:prstClr val="black"/>
                </a:solidFill>
                <a:latin typeface="Aptos"/>
                <a:cs typeface="Arial" panose="020B0604020202020204" pitchFamily="34" charset="0"/>
              </a:rPr>
              <a:t>Awards</a:t>
            </a:r>
            <a:endParaRPr kumimoji="0" lang="en-US" altLang="pl-PL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/>
              <a:cs typeface="Arial" panose="020B0604020202020204" pitchFamily="34" charset="0"/>
            </a:endParaRPr>
          </a:p>
        </p:txBody>
      </p:sp>
      <p:sp>
        <p:nvSpPr>
          <p:cNvPr id="28" name="Prostokąt zaokrąglony 32">
            <a:extLst>
              <a:ext uri="{FF2B5EF4-FFF2-40B4-BE49-F238E27FC236}">
                <a16:creationId xmlns:a16="http://schemas.microsoft.com/office/drawing/2014/main" id="{01561198-2F21-A62C-5459-76D87FDDF756}"/>
              </a:ext>
            </a:extLst>
          </p:cNvPr>
          <p:cNvSpPr/>
          <p:nvPr/>
        </p:nvSpPr>
        <p:spPr>
          <a:xfrm>
            <a:off x="8939527" y="1608823"/>
            <a:ext cx="1875617" cy="611473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FF00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29" name="Prostokąt zaokrąglony 24">
            <a:extLst>
              <a:ext uri="{FF2B5EF4-FFF2-40B4-BE49-F238E27FC236}">
                <a16:creationId xmlns:a16="http://schemas.microsoft.com/office/drawing/2014/main" id="{9C5ACD35-0F9C-7AB9-6168-55EAE4D37869}"/>
              </a:ext>
            </a:extLst>
          </p:cNvPr>
          <p:cNvSpPr/>
          <p:nvPr/>
        </p:nvSpPr>
        <p:spPr>
          <a:xfrm>
            <a:off x="8939527" y="707588"/>
            <a:ext cx="1875617" cy="579926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30" name="Prostokąt zaokrąglony 24">
            <a:extLst>
              <a:ext uri="{FF2B5EF4-FFF2-40B4-BE49-F238E27FC236}">
                <a16:creationId xmlns:a16="http://schemas.microsoft.com/office/drawing/2014/main" id="{D584AC91-49BB-9A1B-EFC4-8F3CF4BA3033}"/>
              </a:ext>
            </a:extLst>
          </p:cNvPr>
          <p:cNvSpPr/>
          <p:nvPr/>
        </p:nvSpPr>
        <p:spPr>
          <a:xfrm>
            <a:off x="8939527" y="2421000"/>
            <a:ext cx="1875617" cy="579926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00B050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16" name="Prostokąt zaokrąglony 32">
            <a:extLst>
              <a:ext uri="{FF2B5EF4-FFF2-40B4-BE49-F238E27FC236}">
                <a16:creationId xmlns:a16="http://schemas.microsoft.com/office/drawing/2014/main" id="{C48BD05E-BA9A-E55A-B634-864E6122D341}"/>
              </a:ext>
            </a:extLst>
          </p:cNvPr>
          <p:cNvSpPr/>
          <p:nvPr/>
        </p:nvSpPr>
        <p:spPr>
          <a:xfrm>
            <a:off x="4535038" y="5560026"/>
            <a:ext cx="4459292" cy="422107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00B050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b="1" dirty="0">
                <a:solidFill>
                  <a:prstClr val="black"/>
                </a:solidFill>
              </a:rPr>
              <a:t>0</a:t>
            </a:r>
          </a:p>
        </p:txBody>
      </p:sp>
      <p:sp>
        <p:nvSpPr>
          <p:cNvPr id="17" name="Prostokąt zaokrąglony 18">
            <a:extLst>
              <a:ext uri="{FF2B5EF4-FFF2-40B4-BE49-F238E27FC236}">
                <a16:creationId xmlns:a16="http://schemas.microsoft.com/office/drawing/2014/main" id="{0654C8C2-6383-0529-D089-40493CF41E1C}"/>
              </a:ext>
            </a:extLst>
          </p:cNvPr>
          <p:cNvSpPr/>
          <p:nvPr/>
        </p:nvSpPr>
        <p:spPr>
          <a:xfrm>
            <a:off x="3978891" y="2164345"/>
            <a:ext cx="549174" cy="67644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18" name="Prostokąt zaokrąglony 19">
            <a:extLst>
              <a:ext uri="{FF2B5EF4-FFF2-40B4-BE49-F238E27FC236}">
                <a16:creationId xmlns:a16="http://schemas.microsoft.com/office/drawing/2014/main" id="{723FBCE9-1529-31C2-6F27-EF3DEF29848E}"/>
              </a:ext>
            </a:extLst>
          </p:cNvPr>
          <p:cNvSpPr/>
          <p:nvPr/>
        </p:nvSpPr>
        <p:spPr>
          <a:xfrm>
            <a:off x="4643806" y="2164345"/>
            <a:ext cx="549174" cy="67644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22" name="Prostokąt zaokrąglony 20">
            <a:extLst>
              <a:ext uri="{FF2B5EF4-FFF2-40B4-BE49-F238E27FC236}">
                <a16:creationId xmlns:a16="http://schemas.microsoft.com/office/drawing/2014/main" id="{FD76A2A6-2652-694D-3793-83DEF036ED59}"/>
              </a:ext>
            </a:extLst>
          </p:cNvPr>
          <p:cNvSpPr/>
          <p:nvPr/>
        </p:nvSpPr>
        <p:spPr>
          <a:xfrm>
            <a:off x="5308718" y="2164345"/>
            <a:ext cx="549174" cy="67644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9" name="Prostokąt zaokrąglony 32">
            <a:extLst>
              <a:ext uri="{FF2B5EF4-FFF2-40B4-BE49-F238E27FC236}">
                <a16:creationId xmlns:a16="http://schemas.microsoft.com/office/drawing/2014/main" id="{3F563820-ACF4-72F9-0AA9-DBC449AD7D9C}"/>
              </a:ext>
            </a:extLst>
          </p:cNvPr>
          <p:cNvSpPr/>
          <p:nvPr/>
        </p:nvSpPr>
        <p:spPr>
          <a:xfrm>
            <a:off x="5071953" y="4394291"/>
            <a:ext cx="3385458" cy="451443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C000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11" name="TextBox 26">
            <a:extLst>
              <a:ext uri="{FF2B5EF4-FFF2-40B4-BE49-F238E27FC236}">
                <a16:creationId xmlns:a16="http://schemas.microsoft.com/office/drawing/2014/main" id="{ACD936AF-F889-73A8-4275-164D46CED9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8686" y="3776921"/>
            <a:ext cx="391282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50000"/>
              </a:spcBef>
              <a:buFont typeface="Arial" panose="020B0604020202020204" pitchFamily="34" charset="0"/>
              <a:buChar char="−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−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rPr>
              <a:t>POWAŻNE INCYDENTY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rPr>
              <a:t>Serious</a:t>
            </a:r>
            <a:r>
              <a:rPr kumimoji="0" lang="pl-PL" alt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rPr>
              <a:t> </a:t>
            </a:r>
            <a:r>
              <a:rPr kumimoji="0" lang="pl-PL" altLang="pl-PL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rPr>
              <a:t>Incidents</a:t>
            </a:r>
            <a:endParaRPr kumimoji="0" lang="en-US" altLang="pl-PL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ptos"/>
              <a:cs typeface="Arial" panose="020B0604020202020204" pitchFamily="34" charset="0"/>
            </a:endParaRPr>
          </a:p>
        </p:txBody>
      </p:sp>
      <p:sp>
        <p:nvSpPr>
          <p:cNvPr id="31" name="TextBox 26">
            <a:extLst>
              <a:ext uri="{FF2B5EF4-FFF2-40B4-BE49-F238E27FC236}">
                <a16:creationId xmlns:a16="http://schemas.microsoft.com/office/drawing/2014/main" id="{B4D8841A-6C6B-A3D6-7119-AE921E2A4B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108700" y="2241730"/>
            <a:ext cx="3912824" cy="53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>
            <a:spAutoFit/>
          </a:bodyPr>
          <a:lstStyle>
            <a:lvl1pPr>
              <a:spcBef>
                <a:spcPct val="50000"/>
              </a:spcBef>
              <a:buFont typeface="Arial" panose="020B0604020202020204" pitchFamily="34" charset="0"/>
              <a:buChar char="−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−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buNone/>
              <a:defRPr/>
            </a:pPr>
            <a:r>
              <a:rPr lang="pl-PL" altLang="pl-PL" sz="1500" dirty="0">
                <a:latin typeface="Aptos"/>
                <a:cs typeface="Arial"/>
              </a:rPr>
              <a:t>ILOŚĆ FIRM</a:t>
            </a:r>
            <a:endParaRPr lang="pl-PL" dirty="0">
              <a:cs typeface="Arial" panose="020B0604020202020204" pitchFamily="34" charset="0"/>
            </a:endParaRPr>
          </a:p>
          <a:p>
            <a:pPr algn="r">
              <a:spcBef>
                <a:spcPts val="0"/>
              </a:spcBef>
              <a:buNone/>
              <a:defRPr/>
            </a:pPr>
            <a:r>
              <a:rPr lang="pl-PL" sz="1400" dirty="0">
                <a:latin typeface="Aptos"/>
                <a:cs typeface="Arial"/>
              </a:rPr>
              <a:t>N</a:t>
            </a:r>
            <a:r>
              <a:rPr lang="pl-PL" sz="900" baseline="30000" dirty="0">
                <a:latin typeface="Aptos"/>
                <a:cs typeface="Arial"/>
              </a:rPr>
              <a:t>o</a:t>
            </a:r>
            <a:r>
              <a:rPr lang="pl-PL" sz="1400" dirty="0">
                <a:latin typeface="Aptos"/>
                <a:cs typeface="Arial"/>
              </a:rPr>
              <a:t> of </a:t>
            </a:r>
            <a:r>
              <a:rPr lang="pl-PL" sz="1400" dirty="0" err="1">
                <a:latin typeface="Aptos"/>
                <a:cs typeface="Arial"/>
              </a:rPr>
              <a:t>companies</a:t>
            </a:r>
          </a:p>
        </p:txBody>
      </p:sp>
      <p:sp>
        <p:nvSpPr>
          <p:cNvPr id="4" name="Prostokąt zaokrąglony 32">
            <a:extLst>
              <a:ext uri="{FF2B5EF4-FFF2-40B4-BE49-F238E27FC236}">
                <a16:creationId xmlns:a16="http://schemas.microsoft.com/office/drawing/2014/main" id="{C64D24B7-5070-3682-82B5-EE0B1215213D}"/>
              </a:ext>
            </a:extLst>
          </p:cNvPr>
          <p:cNvSpPr/>
          <p:nvPr/>
        </p:nvSpPr>
        <p:spPr>
          <a:xfrm>
            <a:off x="4810696" y="4979794"/>
            <a:ext cx="3907972" cy="42210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4">
                <a:lumMod val="40000"/>
                <a:lumOff val="60000"/>
              </a:schemeClr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12" name="TextBox 26">
            <a:extLst>
              <a:ext uri="{FF2B5EF4-FFF2-40B4-BE49-F238E27FC236}">
                <a16:creationId xmlns:a16="http://schemas.microsoft.com/office/drawing/2014/main" id="{EA5632DF-D6DA-C954-2DCF-5E222C5A9CE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038" y="4912401"/>
            <a:ext cx="3998471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50000"/>
              </a:spcBef>
              <a:buFont typeface="Arial" panose="020B0604020202020204" pitchFamily="34" charset="0"/>
              <a:buChar char="−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−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rPr>
              <a:t> MAŁE INCYDENTY</a:t>
            </a:r>
            <a:r>
              <a:rPr lang="pl-PL" altLang="pl-PL" sz="1600" dirty="0">
                <a:latin typeface="Aptos"/>
                <a:cs typeface="Arial" panose="020B0604020202020204" pitchFamily="34" charset="0"/>
              </a:rPr>
              <a:t>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rPr>
              <a:t>Minor </a:t>
            </a:r>
            <a:r>
              <a:rPr kumimoji="0" lang="pl-PL" altLang="pl-PL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rPr>
              <a:t>Incidents</a:t>
            </a:r>
            <a:endParaRPr kumimoji="0" lang="en-US" altLang="pl-PL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ptos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a 1">
            <a:extLst>
              <a:ext uri="{FF2B5EF4-FFF2-40B4-BE49-F238E27FC236}">
                <a16:creationId xmlns:a16="http://schemas.microsoft.com/office/drawing/2014/main" id="{85263723-9FBC-4920-8724-ED2A0061DEF2}"/>
              </a:ext>
            </a:extLst>
          </p:cNvPr>
          <p:cNvGrpSpPr/>
          <p:nvPr/>
        </p:nvGrpSpPr>
        <p:grpSpPr>
          <a:xfrm>
            <a:off x="1339797" y="1662545"/>
            <a:ext cx="3920972" cy="4233504"/>
            <a:chOff x="1339797" y="1920646"/>
            <a:chExt cx="3586647" cy="3976938"/>
          </a:xfrm>
        </p:grpSpPr>
        <p:pic>
          <p:nvPicPr>
            <p:cNvPr id="50" name="Picture 4">
              <a:extLst>
                <a:ext uri="{FF2B5EF4-FFF2-40B4-BE49-F238E27FC236}">
                  <a16:creationId xmlns:a16="http://schemas.microsoft.com/office/drawing/2014/main" id="{F9B79B00-E20C-45A2-B666-58975A4368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tretch>
              <a:fillRect/>
            </a:stretch>
          </p:blipFill>
          <p:spPr bwMode="auto">
            <a:xfrm>
              <a:off x="3554844" y="3259885"/>
              <a:ext cx="1371600" cy="1066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51" name="Picture 2">
              <a:extLst>
                <a:ext uri="{FF2B5EF4-FFF2-40B4-BE49-F238E27FC236}">
                  <a16:creationId xmlns:a16="http://schemas.microsoft.com/office/drawing/2014/main" id="{3AA94853-83C4-421B-8008-78E7C6BB2A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/>
            <a:stretch>
              <a:fillRect/>
            </a:stretch>
          </p:blipFill>
          <p:spPr bwMode="auto">
            <a:xfrm>
              <a:off x="1339797" y="1920646"/>
              <a:ext cx="2989263" cy="2433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1030" name="Picture 6" descr="Image result for 3 point chin strap for hard hat">
              <a:extLst>
                <a:ext uri="{FF2B5EF4-FFF2-40B4-BE49-F238E27FC236}">
                  <a16:creationId xmlns:a16="http://schemas.microsoft.com/office/drawing/2014/main" id="{DF31DDF0-72DE-4472-9F62-EACE2FF3F34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4131" y="4411014"/>
              <a:ext cx="1013515" cy="10135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2">
              <a:extLst>
                <a:ext uri="{FF2B5EF4-FFF2-40B4-BE49-F238E27FC236}">
                  <a16:creationId xmlns:a16="http://schemas.microsoft.com/office/drawing/2014/main" id="{0C85AF33-AB5F-493A-9A32-2174A28183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/>
            <a:stretch>
              <a:fillRect/>
            </a:stretch>
          </p:blipFill>
          <p:spPr bwMode="auto">
            <a:xfrm>
              <a:off x="1586163" y="3692116"/>
              <a:ext cx="1344613" cy="1346200"/>
            </a:xfrm>
            <a:prstGeom prst="rect">
              <a:avLst/>
            </a:prstGeom>
            <a:noFill/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sp>
          <p:nvSpPr>
            <p:cNvPr id="49" name="Prostokąt 48">
              <a:extLst>
                <a:ext uri="{FF2B5EF4-FFF2-40B4-BE49-F238E27FC236}">
                  <a16:creationId xmlns:a16="http://schemas.microsoft.com/office/drawing/2014/main" id="{AEB9C810-CFEA-4717-A8A2-9964AF19B7FE}"/>
                </a:ext>
              </a:extLst>
            </p:cNvPr>
            <p:cNvSpPr/>
            <p:nvPr/>
          </p:nvSpPr>
          <p:spPr>
            <a:xfrm>
              <a:off x="1445126" y="5410469"/>
              <a:ext cx="2971300" cy="4871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200000"/>
                </a:lnSpc>
                <a:spcBef>
                  <a:spcPct val="0"/>
                </a:spcBef>
                <a:defRPr/>
              </a:pPr>
              <a:r>
                <a:rPr lang="pl-PL" sz="1600" dirty="0">
                  <a:latin typeface="Aptos"/>
                  <a:cs typeface="Arial" panose="020B0604020202020204" pitchFamily="34" charset="0"/>
                </a:rPr>
                <a:t>Obowiązkowe </a:t>
              </a:r>
              <a:r>
                <a:rPr lang="pl-PL" sz="1600" dirty="0" err="1">
                  <a:solidFill>
                    <a:schemeClr val="bg1">
                      <a:lumMod val="50000"/>
                    </a:schemeClr>
                  </a:solidFill>
                  <a:latin typeface="Aptos"/>
                  <a:cs typeface="Arial" panose="020B0604020202020204" pitchFamily="34" charset="0"/>
                </a:rPr>
                <a:t>Obligatory</a:t>
              </a:r>
              <a:endParaRPr lang="pl-PL" sz="1600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endParaRPr>
            </a:p>
          </p:txBody>
        </p:sp>
      </p:grpSp>
      <p:grpSp>
        <p:nvGrpSpPr>
          <p:cNvPr id="3" name="Grupa 2">
            <a:extLst>
              <a:ext uri="{FF2B5EF4-FFF2-40B4-BE49-F238E27FC236}">
                <a16:creationId xmlns:a16="http://schemas.microsoft.com/office/drawing/2014/main" id="{7E2E3D63-1F39-417C-869C-4C0F1F70C06A}"/>
              </a:ext>
            </a:extLst>
          </p:cNvPr>
          <p:cNvGrpSpPr/>
          <p:nvPr/>
        </p:nvGrpSpPr>
        <p:grpSpPr>
          <a:xfrm>
            <a:off x="7431293" y="1662545"/>
            <a:ext cx="3660259" cy="4197170"/>
            <a:chOff x="7431294" y="2261883"/>
            <a:chExt cx="3315580" cy="3608453"/>
          </a:xfrm>
        </p:grpSpPr>
        <p:grpSp>
          <p:nvGrpSpPr>
            <p:cNvPr id="40" name="Grupa 19">
              <a:extLst>
                <a:ext uri="{FF2B5EF4-FFF2-40B4-BE49-F238E27FC236}">
                  <a16:creationId xmlns:a16="http://schemas.microsoft.com/office/drawing/2014/main" id="{DCADF59A-7959-4691-815C-8D3C317BD23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431294" y="2261883"/>
              <a:ext cx="2989263" cy="1678425"/>
              <a:chOff x="5596113" y="4165692"/>
              <a:chExt cx="2658419" cy="1432146"/>
            </a:xfrm>
          </p:grpSpPr>
          <p:pic>
            <p:nvPicPr>
              <p:cNvPr id="41" name="Picture 8">
                <a:extLst>
                  <a:ext uri="{FF2B5EF4-FFF2-40B4-BE49-F238E27FC236}">
                    <a16:creationId xmlns:a16="http://schemas.microsoft.com/office/drawing/2014/main" id="{5F9BBA16-E6D1-4553-A0F2-25D6625D7D0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/>
              <a:stretch>
                <a:fillRect/>
              </a:stretch>
            </p:blipFill>
            <p:spPr bwMode="auto">
              <a:xfrm>
                <a:off x="6646784" y="4337168"/>
                <a:ext cx="1607748" cy="120192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p:spPr>
          </p:pic>
          <p:pic>
            <p:nvPicPr>
              <p:cNvPr id="42" name="Picture 6">
                <a:extLst>
                  <a:ext uri="{FF2B5EF4-FFF2-40B4-BE49-F238E27FC236}">
                    <a16:creationId xmlns:a16="http://schemas.microsoft.com/office/drawing/2014/main" id="{F1D5906D-DCF6-429C-938E-BDDDCC9D0C8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/>
              <a:stretch>
                <a:fillRect/>
              </a:stretch>
            </p:blipFill>
            <p:spPr bwMode="auto">
              <a:xfrm>
                <a:off x="5596113" y="4165692"/>
                <a:ext cx="1207795" cy="14321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p:spPr>
          </p:pic>
        </p:grpSp>
        <p:pic>
          <p:nvPicPr>
            <p:cNvPr id="33" name="Obraz 32" descr="Obraz zawierający zastawa stołowa, sosjerka&#10;&#10;Opis wygenerowany automatycznie">
              <a:extLst>
                <a:ext uri="{FF2B5EF4-FFF2-40B4-BE49-F238E27FC236}">
                  <a16:creationId xmlns:a16="http://schemas.microsoft.com/office/drawing/2014/main" id="{A27647E4-7BB4-4EB3-BF32-8C17CCC2DC0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55511" y="4210737"/>
              <a:ext cx="1714044" cy="846819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55" name="Prostokąt 54">
              <a:extLst>
                <a:ext uri="{FF2B5EF4-FFF2-40B4-BE49-F238E27FC236}">
                  <a16:creationId xmlns:a16="http://schemas.microsoft.com/office/drawing/2014/main" id="{AEB9C810-CFEA-4717-A8A2-9964AF19B7FE}"/>
                </a:ext>
              </a:extLst>
            </p:cNvPr>
            <p:cNvSpPr/>
            <p:nvPr/>
          </p:nvSpPr>
          <p:spPr>
            <a:xfrm>
              <a:off x="7775574" y="5424529"/>
              <a:ext cx="2971300" cy="4458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200000"/>
                </a:lnSpc>
                <a:spcBef>
                  <a:spcPct val="0"/>
                </a:spcBef>
                <a:defRPr/>
              </a:pPr>
              <a:r>
                <a:rPr lang="pl-PL" sz="1600" dirty="0">
                  <a:latin typeface="Aptos"/>
                  <a:cs typeface="Arial" panose="020B0604020202020204" pitchFamily="34" charset="0"/>
                </a:rPr>
                <a:t>Dodatkowe </a:t>
              </a:r>
              <a:r>
                <a:rPr lang="pl-PL" sz="1600" dirty="0" err="1">
                  <a:solidFill>
                    <a:schemeClr val="bg1">
                      <a:lumMod val="50000"/>
                    </a:schemeClr>
                  </a:solidFill>
                  <a:latin typeface="Aptos"/>
                  <a:cs typeface="Arial" panose="020B0604020202020204" pitchFamily="34" charset="0"/>
                </a:rPr>
                <a:t>Additional</a:t>
              </a:r>
              <a:endParaRPr lang="pl-PL" sz="1600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endParaRPr>
            </a:p>
          </p:txBody>
        </p:sp>
      </p:grpSp>
      <p:sp>
        <p:nvSpPr>
          <p:cNvPr id="57" name="Tytuł 4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pl-PL" sz="2200" dirty="0">
                <a:latin typeface="Aptos"/>
                <a:cs typeface="Arial" panose="020B0604020202020204" pitchFamily="34" charset="0"/>
              </a:rPr>
              <a:t>Środki Ochrony Indywidualnej</a:t>
            </a:r>
            <a:br>
              <a:rPr lang="pl-PL" dirty="0">
                <a:latin typeface="Aptos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Personal protection equipment</a:t>
            </a:r>
          </a:p>
        </p:txBody>
      </p:sp>
    </p:spTree>
    <p:extLst>
      <p:ext uri="{BB962C8B-B14F-4D97-AF65-F5344CB8AC3E}">
        <p14:creationId xmlns:p14="http://schemas.microsoft.com/office/powerpoint/2010/main" val="14768556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a 7"/>
          <p:cNvGrpSpPr/>
          <p:nvPr/>
        </p:nvGrpSpPr>
        <p:grpSpPr>
          <a:xfrm>
            <a:off x="1831251" y="1186173"/>
            <a:ext cx="1967135" cy="3922579"/>
            <a:chOff x="1378766" y="1417266"/>
            <a:chExt cx="1625671" cy="3241680"/>
          </a:xfrm>
        </p:grpSpPr>
        <p:pic>
          <p:nvPicPr>
            <p:cNvPr id="9" name="Google Shape;1887;p54"/>
            <p:cNvPicPr preferRelativeResize="0"/>
            <p:nvPr/>
          </p:nvPicPr>
          <p:blipFill>
            <a:blip r:embed="rId2"/>
            <a:stretch>
              <a:fillRect/>
            </a:stretch>
          </p:blipFill>
          <p:spPr>
            <a:xfrm>
              <a:off x="1428728" y="1684091"/>
              <a:ext cx="1531450" cy="2705874"/>
            </a:xfrm>
            <a:prstGeom prst="rect">
              <a:avLst/>
            </a:prstGeom>
            <a:noFill/>
            <a:ln>
              <a:solidFill>
                <a:srgbClr val="535459"/>
              </a:solidFill>
            </a:ln>
          </p:spPr>
        </p:pic>
        <p:sp>
          <p:nvSpPr>
            <p:cNvPr id="10" name="Google Shape;1888;p54"/>
            <p:cNvSpPr/>
            <p:nvPr/>
          </p:nvSpPr>
          <p:spPr>
            <a:xfrm>
              <a:off x="1378766" y="1417266"/>
              <a:ext cx="1625671" cy="3241680"/>
            </a:xfrm>
            <a:custGeom>
              <a:avLst/>
              <a:gdLst/>
              <a:ahLst/>
              <a:cxnLst/>
              <a:rect l="l" t="t" r="r" b="b"/>
              <a:pathLst>
                <a:path w="103480" h="206345" extrusionOk="0">
                  <a:moveTo>
                    <a:pt x="61741" y="8558"/>
                  </a:moveTo>
                  <a:cubicBezTo>
                    <a:pt x="62649" y="8558"/>
                    <a:pt x="62637" y="9975"/>
                    <a:pt x="61704" y="9975"/>
                  </a:cubicBezTo>
                  <a:cubicBezTo>
                    <a:pt x="61677" y="9975"/>
                    <a:pt x="61650" y="9973"/>
                    <a:pt x="61623" y="9971"/>
                  </a:cubicBezTo>
                  <a:lnTo>
                    <a:pt x="40979" y="9971"/>
                  </a:lnTo>
                  <a:cubicBezTo>
                    <a:pt x="40952" y="9973"/>
                    <a:pt x="40925" y="9975"/>
                    <a:pt x="40898" y="9975"/>
                  </a:cubicBezTo>
                  <a:cubicBezTo>
                    <a:pt x="39965" y="9975"/>
                    <a:pt x="39952" y="8558"/>
                    <a:pt x="40861" y="8558"/>
                  </a:cubicBezTo>
                  <a:cubicBezTo>
                    <a:pt x="40899" y="8558"/>
                    <a:pt x="40938" y="8561"/>
                    <a:pt x="40979" y="8566"/>
                  </a:cubicBezTo>
                  <a:lnTo>
                    <a:pt x="61623" y="8566"/>
                  </a:lnTo>
                  <a:cubicBezTo>
                    <a:pt x="61664" y="8561"/>
                    <a:pt x="61703" y="8558"/>
                    <a:pt x="61741" y="8558"/>
                  </a:cubicBezTo>
                  <a:close/>
                  <a:moveTo>
                    <a:pt x="100713" y="16164"/>
                  </a:moveTo>
                  <a:lnTo>
                    <a:pt x="100713" y="189567"/>
                  </a:lnTo>
                  <a:lnTo>
                    <a:pt x="2987" y="189567"/>
                  </a:lnTo>
                  <a:lnTo>
                    <a:pt x="2987" y="16164"/>
                  </a:lnTo>
                  <a:close/>
                  <a:moveTo>
                    <a:pt x="22357" y="196638"/>
                  </a:moveTo>
                  <a:lnTo>
                    <a:pt x="22313" y="197165"/>
                  </a:lnTo>
                  <a:lnTo>
                    <a:pt x="18448" y="197165"/>
                  </a:lnTo>
                  <a:lnTo>
                    <a:pt x="18448" y="196638"/>
                  </a:lnTo>
                  <a:close/>
                  <a:moveTo>
                    <a:pt x="53277" y="196726"/>
                  </a:moveTo>
                  <a:cubicBezTo>
                    <a:pt x="53365" y="196726"/>
                    <a:pt x="53453" y="196814"/>
                    <a:pt x="53453" y="196945"/>
                  </a:cubicBezTo>
                  <a:lnTo>
                    <a:pt x="53453" y="199976"/>
                  </a:lnTo>
                  <a:cubicBezTo>
                    <a:pt x="53453" y="200064"/>
                    <a:pt x="53365" y="200152"/>
                    <a:pt x="53234" y="200152"/>
                  </a:cubicBezTo>
                  <a:lnTo>
                    <a:pt x="50203" y="200152"/>
                  </a:lnTo>
                  <a:cubicBezTo>
                    <a:pt x="50071" y="200152"/>
                    <a:pt x="49983" y="200064"/>
                    <a:pt x="49983" y="199976"/>
                  </a:cubicBezTo>
                  <a:lnTo>
                    <a:pt x="49983" y="196945"/>
                  </a:lnTo>
                  <a:cubicBezTo>
                    <a:pt x="49983" y="196814"/>
                    <a:pt x="50071" y="196726"/>
                    <a:pt x="50203" y="196726"/>
                  </a:cubicBezTo>
                  <a:close/>
                  <a:moveTo>
                    <a:pt x="80706" y="196517"/>
                  </a:moveTo>
                  <a:cubicBezTo>
                    <a:pt x="80761" y="196517"/>
                    <a:pt x="80816" y="196528"/>
                    <a:pt x="80860" y="196550"/>
                  </a:cubicBezTo>
                  <a:cubicBezTo>
                    <a:pt x="80948" y="196638"/>
                    <a:pt x="80948" y="196770"/>
                    <a:pt x="80860" y="196858"/>
                  </a:cubicBezTo>
                  <a:lnTo>
                    <a:pt x="79455" y="198263"/>
                  </a:lnTo>
                  <a:cubicBezTo>
                    <a:pt x="79367" y="198351"/>
                    <a:pt x="79323" y="198439"/>
                    <a:pt x="79323" y="198527"/>
                  </a:cubicBezTo>
                  <a:cubicBezTo>
                    <a:pt x="79323" y="198614"/>
                    <a:pt x="79367" y="198702"/>
                    <a:pt x="79455" y="198790"/>
                  </a:cubicBezTo>
                  <a:lnTo>
                    <a:pt x="80860" y="200196"/>
                  </a:lnTo>
                  <a:cubicBezTo>
                    <a:pt x="80948" y="200284"/>
                    <a:pt x="80948" y="200415"/>
                    <a:pt x="80860" y="200503"/>
                  </a:cubicBezTo>
                  <a:cubicBezTo>
                    <a:pt x="80816" y="200547"/>
                    <a:pt x="80761" y="200569"/>
                    <a:pt x="80706" y="200569"/>
                  </a:cubicBezTo>
                  <a:cubicBezTo>
                    <a:pt x="80652" y="200569"/>
                    <a:pt x="80597" y="200547"/>
                    <a:pt x="80553" y="200503"/>
                  </a:cubicBezTo>
                  <a:lnTo>
                    <a:pt x="79147" y="199098"/>
                  </a:lnTo>
                  <a:cubicBezTo>
                    <a:pt x="79015" y="198922"/>
                    <a:pt x="78928" y="198746"/>
                    <a:pt x="78928" y="198527"/>
                  </a:cubicBezTo>
                  <a:cubicBezTo>
                    <a:pt x="78928" y="198307"/>
                    <a:pt x="79015" y="198131"/>
                    <a:pt x="79147" y="198000"/>
                  </a:cubicBezTo>
                  <a:lnTo>
                    <a:pt x="80553" y="196550"/>
                  </a:lnTo>
                  <a:cubicBezTo>
                    <a:pt x="80597" y="196528"/>
                    <a:pt x="80652" y="196517"/>
                    <a:pt x="80706" y="196517"/>
                  </a:cubicBezTo>
                  <a:close/>
                  <a:moveTo>
                    <a:pt x="15461" y="1"/>
                  </a:moveTo>
                  <a:cubicBezTo>
                    <a:pt x="6940" y="1"/>
                    <a:pt x="1" y="6941"/>
                    <a:pt x="1" y="15461"/>
                  </a:cubicBezTo>
                  <a:lnTo>
                    <a:pt x="1" y="190884"/>
                  </a:lnTo>
                  <a:cubicBezTo>
                    <a:pt x="1" y="199405"/>
                    <a:pt x="6940" y="206345"/>
                    <a:pt x="15461" y="206345"/>
                  </a:cubicBezTo>
                  <a:lnTo>
                    <a:pt x="88019" y="206345"/>
                  </a:lnTo>
                  <a:cubicBezTo>
                    <a:pt x="96540" y="206345"/>
                    <a:pt x="103480" y="199405"/>
                    <a:pt x="103480" y="190884"/>
                  </a:cubicBezTo>
                  <a:lnTo>
                    <a:pt x="103480" y="15461"/>
                  </a:lnTo>
                  <a:cubicBezTo>
                    <a:pt x="103480" y="6941"/>
                    <a:pt x="96540" y="1"/>
                    <a:pt x="88019" y="1"/>
                  </a:cubicBezTo>
                  <a:close/>
                </a:path>
              </a:pathLst>
            </a:custGeom>
            <a:noFill/>
            <a:ln w="28575" cap="flat" cmpd="sng">
              <a:solidFill>
                <a:srgbClr val="53545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/>
            </a:p>
          </p:txBody>
        </p:sp>
      </p:grpSp>
      <p:sp>
        <p:nvSpPr>
          <p:cNvPr id="11" name="Symbol zastępczy zawartości 33">
            <a:extLst>
              <a:ext uri="{FF2B5EF4-FFF2-40B4-BE49-F238E27FC236}">
                <a16:creationId xmlns:a16="http://schemas.microsoft.com/office/drawing/2014/main" id="{51C879A3-02D2-4609-AD7E-64B746A01749}"/>
              </a:ext>
            </a:extLst>
          </p:cNvPr>
          <p:cNvSpPr txBox="1">
            <a:spLocks/>
          </p:cNvSpPr>
          <p:nvPr/>
        </p:nvSpPr>
        <p:spPr>
          <a:xfrm>
            <a:off x="5009404" y="2508184"/>
            <a:ext cx="6438901" cy="227508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l-PL" sz="20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  <a:cs typeface="Arial"/>
                <a:sym typeface="Arial"/>
              </a:rPr>
              <a:t>PROSZĘ WYŁĄCZYĆ/WYCISZYĆ TELEFONY</a:t>
            </a:r>
            <a:endParaRPr lang="pl-PL" sz="20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/>
              <a:cs typeface="Arial"/>
            </a:endParaRPr>
          </a:p>
          <a:p>
            <a:pPr>
              <a:buClr>
                <a:srgbClr val="000000"/>
              </a:buClr>
              <a:defRPr/>
            </a:pPr>
            <a:r>
              <a:rPr lang="pl-PL" sz="2000" kern="0" dirty="0" err="1">
                <a:solidFill>
                  <a:schemeClr val="bg1">
                    <a:lumMod val="50000"/>
                  </a:schemeClr>
                </a:solidFill>
                <a:latin typeface="Aptos"/>
                <a:cs typeface="Arial"/>
                <a:sym typeface="Arial"/>
              </a:rPr>
              <a:t>Please</a:t>
            </a:r>
            <a:r>
              <a:rPr lang="pl-PL" sz="2000" kern="0" dirty="0">
                <a:solidFill>
                  <a:schemeClr val="bg1">
                    <a:lumMod val="50000"/>
                  </a:schemeClr>
                </a:solidFill>
                <a:latin typeface="Aptos"/>
                <a:cs typeface="Arial"/>
                <a:sym typeface="Arial"/>
              </a:rPr>
              <a:t> </a:t>
            </a:r>
            <a:r>
              <a:rPr lang="pl-PL" sz="2000" kern="0" dirty="0" err="1">
                <a:solidFill>
                  <a:schemeClr val="bg1">
                    <a:lumMod val="50000"/>
                  </a:schemeClr>
                </a:solidFill>
                <a:latin typeface="Aptos"/>
                <a:cs typeface="Arial"/>
                <a:sym typeface="Arial"/>
              </a:rPr>
              <a:t>turn</a:t>
            </a:r>
            <a:r>
              <a:rPr lang="pl-PL" sz="2000" kern="0" dirty="0">
                <a:solidFill>
                  <a:schemeClr val="bg1">
                    <a:lumMod val="50000"/>
                  </a:schemeClr>
                </a:solidFill>
                <a:latin typeface="Aptos"/>
                <a:cs typeface="Arial"/>
                <a:sym typeface="Arial"/>
              </a:rPr>
              <a:t> off/ </a:t>
            </a:r>
            <a:r>
              <a:rPr lang="pl-PL" sz="2000" kern="0" dirty="0" err="1">
                <a:solidFill>
                  <a:schemeClr val="bg1">
                    <a:lumMod val="50000"/>
                  </a:schemeClr>
                </a:solidFill>
                <a:latin typeface="Aptos"/>
                <a:cs typeface="Arial"/>
                <a:sym typeface="Arial"/>
              </a:rPr>
              <a:t>mute</a:t>
            </a:r>
            <a:r>
              <a:rPr lang="pl-PL" sz="2000" kern="0" dirty="0">
                <a:solidFill>
                  <a:schemeClr val="bg1">
                    <a:lumMod val="50000"/>
                  </a:schemeClr>
                </a:solidFill>
                <a:latin typeface="Aptos"/>
                <a:cs typeface="Arial"/>
                <a:sym typeface="Arial"/>
              </a:rPr>
              <a:t> </a:t>
            </a:r>
            <a:r>
              <a:rPr lang="pl-PL" sz="2000" kern="0" dirty="0" err="1">
                <a:solidFill>
                  <a:schemeClr val="bg1">
                    <a:lumMod val="50000"/>
                  </a:schemeClr>
                </a:solidFill>
                <a:latin typeface="Aptos"/>
                <a:cs typeface="Arial"/>
                <a:sym typeface="Arial"/>
              </a:rPr>
              <a:t>your</a:t>
            </a:r>
            <a:r>
              <a:rPr lang="pl-PL" sz="2000" kern="0" dirty="0">
                <a:solidFill>
                  <a:schemeClr val="bg1">
                    <a:lumMod val="50000"/>
                  </a:schemeClr>
                </a:solidFill>
                <a:latin typeface="Aptos"/>
                <a:cs typeface="Arial"/>
                <a:sym typeface="Arial"/>
              </a:rPr>
              <a:t> mobile phones</a:t>
            </a:r>
            <a:endParaRPr lang="pl-PL" sz="2000" kern="0" dirty="0">
              <a:solidFill>
                <a:schemeClr val="bg1">
                  <a:lumMod val="50000"/>
                </a:schemeClr>
              </a:solidFill>
              <a:latin typeface="Aptos"/>
              <a:cs typeface="Arial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pl-PL" sz="20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/>
              <a:cs typeface="Gotham Book" pitchFamily="50" charset="0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10641B-75B7-4346-88BE-3556F7AF86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sz="2200" dirty="0">
                <a:latin typeface="Aptos"/>
                <a:cs typeface="Arial" panose="020B0604020202020204" pitchFamily="34" charset="0"/>
              </a:rPr>
              <a:t>Podstawowe zasady dla gości</a:t>
            </a:r>
            <a:br>
              <a:rPr lang="pl-PL" sz="2200" dirty="0">
                <a:latin typeface="Aptos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ptos"/>
                <a:ea typeface="+mn-ea"/>
                <a:cs typeface="Arial" panose="020B0604020202020204" pitchFamily="34" charset="0"/>
              </a:rPr>
              <a:t>Basic rules for visitors</a:t>
            </a:r>
            <a:endParaRPr lang="en-US" dirty="0">
              <a:solidFill>
                <a:schemeClr val="bg1">
                  <a:lumMod val="50000"/>
                </a:schemeClr>
              </a:solidFill>
              <a:latin typeface="Aptos"/>
              <a:ea typeface="+mn-ea"/>
              <a:cs typeface="Arial" panose="020B0604020202020204" pitchFamily="34" charset="0"/>
            </a:endParaRPr>
          </a:p>
        </p:txBody>
      </p:sp>
      <p:sp>
        <p:nvSpPr>
          <p:cNvPr id="44" name="Symbol zastępczy zawartości 2">
            <a:extLst>
              <a:ext uri="{FF2B5EF4-FFF2-40B4-BE49-F238E27FC236}">
                <a16:creationId xmlns:a16="http://schemas.microsoft.com/office/drawing/2014/main" id="{893909E9-DEDF-4F8B-9D6C-872890268F9B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8705850" y="3294063"/>
            <a:ext cx="3486150" cy="2997200"/>
          </a:xfrm>
        </p:spPr>
        <p:txBody>
          <a:bodyPr/>
          <a:lstStyle/>
          <a:p>
            <a:pPr marL="6350" indent="-6350">
              <a:buFont typeface="Wingdings" panose="05000000000000000000" pitchFamily="2" charset="2"/>
              <a:buChar char="§"/>
              <a:defRPr/>
            </a:pPr>
            <a:endParaRPr lang="en-US" sz="2000" b="1" dirty="0">
              <a:latin typeface="Skanska Sans Pro" panose="02000503060000020004" pitchFamily="50" charset="0"/>
            </a:endParaRPr>
          </a:p>
          <a:p>
            <a:pPr>
              <a:lnSpc>
                <a:spcPct val="2000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endParaRPr lang="pl-PL" sz="2000" dirty="0">
              <a:latin typeface="Skanska Sans Pro" panose="02000503060000020004" pitchFamily="50" charset="0"/>
            </a:endParaRPr>
          </a:p>
        </p:txBody>
      </p:sp>
      <p:sp>
        <p:nvSpPr>
          <p:cNvPr id="38" name="Symbol zastępczy zawartości 33">
            <a:extLst>
              <a:ext uri="{FF2B5EF4-FFF2-40B4-BE49-F238E27FC236}">
                <a16:creationId xmlns:a16="http://schemas.microsoft.com/office/drawing/2014/main" id="{F9B95D2E-0081-400F-A1F3-ACBEF073904C}"/>
              </a:ext>
            </a:extLst>
          </p:cNvPr>
          <p:cNvSpPr txBox="1">
            <a:spLocks/>
          </p:cNvSpPr>
          <p:nvPr/>
        </p:nvSpPr>
        <p:spPr>
          <a:xfrm>
            <a:off x="247651" y="2945684"/>
            <a:ext cx="6545847" cy="8326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buClr>
                <a:srgbClr val="53545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Pozostań z osobą oprowadzającą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buClr>
                <a:srgbClr val="535459"/>
              </a:buClr>
              <a:buSzTx/>
              <a:buNone/>
              <a:tabLst/>
              <a:defRPr/>
            </a:pPr>
            <a:r>
              <a:rPr lang="pl-PL" sz="1600" dirty="0">
                <a:solidFill>
                  <a:prstClr val="white">
                    <a:lumMod val="50000"/>
                  </a:prstClr>
                </a:solidFill>
                <a:latin typeface="Aptos"/>
                <a:cs typeface="Arial" panose="020B0604020202020204" pitchFamily="34" charset="0"/>
              </a:rPr>
              <a:t>    </a:t>
            </a:r>
            <a:r>
              <a:rPr kumimoji="0" lang="pl-PL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Stay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 with your guide;</a:t>
            </a:r>
          </a:p>
        </p:txBody>
      </p:sp>
      <p:sp>
        <p:nvSpPr>
          <p:cNvPr id="6" name="Symbol zastępczy zawartości 33">
            <a:extLst>
              <a:ext uri="{FF2B5EF4-FFF2-40B4-BE49-F238E27FC236}">
                <a16:creationId xmlns:a16="http://schemas.microsoft.com/office/drawing/2014/main" id="{9F892ABE-1CBD-43F6-9BF1-2B6729A0BBC6}"/>
              </a:ext>
            </a:extLst>
          </p:cNvPr>
          <p:cNvSpPr txBox="1">
            <a:spLocks/>
          </p:cNvSpPr>
          <p:nvPr/>
        </p:nvSpPr>
        <p:spPr>
          <a:xfrm>
            <a:off x="267271" y="3778338"/>
            <a:ext cx="6526227" cy="1175210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rgbClr val="535459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Jeśli odłączysz się od grupy, skontaktuj się z nadzorem </a:t>
            </a:r>
            <a:r>
              <a:rPr lang="pl-PL" sz="1600" dirty="0">
                <a:solidFill>
                  <a:prstClr val="black"/>
                </a:solidFill>
                <a:latin typeface="Aptos"/>
                <a:cs typeface="Arial" panose="020B0604020202020204" pitchFamily="34" charset="0"/>
              </a:rPr>
              <a:t>Inwestora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 lub Generalnego Wykonawcy</a:t>
            </a:r>
            <a:b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</a:b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If you get detached from the group, contact with Supervisor from I</a:t>
            </a:r>
            <a:r>
              <a:rPr lang="pl-PL" sz="1600" dirty="0" err="1">
                <a:solidFill>
                  <a:prstClr val="white">
                    <a:lumMod val="50000"/>
                  </a:prstClr>
                </a:solidFill>
                <a:latin typeface="Aptos"/>
                <a:cs typeface="Arial" panose="020B0604020202020204" pitchFamily="34" charset="0"/>
              </a:rPr>
              <a:t>nvestor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 or Principal Contractor;</a:t>
            </a:r>
          </a:p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rgbClr val="535459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pl-PL" sz="16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ptos"/>
              <a:cs typeface="Arial" panose="020B0604020202020204" pitchFamily="34" charset="0"/>
            </a:endParaRPr>
          </a:p>
        </p:txBody>
      </p:sp>
      <p:sp>
        <p:nvSpPr>
          <p:cNvPr id="3" name="pole tekstowe 2">
            <a:extLst>
              <a:ext uri="{FF2B5EF4-FFF2-40B4-BE49-F238E27FC236}">
                <a16:creationId xmlns:a16="http://schemas.microsoft.com/office/drawing/2014/main" id="{2305A952-DECB-49E3-A560-03064D583D2F}"/>
              </a:ext>
            </a:extLst>
          </p:cNvPr>
          <p:cNvSpPr txBox="1"/>
          <p:nvPr/>
        </p:nvSpPr>
        <p:spPr>
          <a:xfrm>
            <a:off x="247078" y="5034675"/>
            <a:ext cx="6526800" cy="1053028"/>
          </a:xfrm>
          <a:prstGeom prst="rect">
            <a:avLst/>
          </a:prstGeom>
          <a:noFill/>
        </p:spPr>
        <p:txBody>
          <a:bodyPr wrap="square" lIns="90000" rtlCol="0">
            <a:normAutofit lnSpcReduction="10000"/>
          </a:bodyPr>
          <a:lstStyle/>
          <a:p>
            <a:pPr marL="230400" marR="0" lvl="0" indent="-230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W przypadku wystąpienia sytuacji awaryjnej i ogłoszenia alarmu wykonuj polecenia opiekuna</a:t>
            </a:r>
            <a:b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</a:b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A6A7A8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In the event of an emergency situation and an alarm being announced, listen to and follow the instructions of the 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guide</a:t>
            </a:r>
          </a:p>
        </p:txBody>
      </p:sp>
      <p:sp>
        <p:nvSpPr>
          <p:cNvPr id="4" name="pole tekstowe 3">
            <a:extLst>
              <a:ext uri="{FF2B5EF4-FFF2-40B4-BE49-F238E27FC236}">
                <a16:creationId xmlns:a16="http://schemas.microsoft.com/office/drawing/2014/main" id="{D0053CDF-B8FF-473A-AE04-F9F49BF056DB}"/>
              </a:ext>
            </a:extLst>
          </p:cNvPr>
          <p:cNvSpPr txBox="1"/>
          <p:nvPr/>
        </p:nvSpPr>
        <p:spPr>
          <a:xfrm>
            <a:off x="266698" y="1740310"/>
            <a:ext cx="65268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0400" marR="0" lvl="0" indent="-230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Na terenie budowy mogą przebywać wyłącznie osoby, które w dniu wizyty mają ukończony 15 rok życia</a:t>
            </a:r>
            <a:b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On the 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construction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site are allowed only by persons who on the day of the visit have completed 15 years of age</a:t>
            </a:r>
            <a:endParaRPr kumimoji="0" lang="pl-PL" sz="16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ptos"/>
              <a:cs typeface="Arial" panose="020B0604020202020204" pitchFamily="34" charset="0"/>
            </a:endParaRPr>
          </a:p>
        </p:txBody>
      </p:sp>
      <p:pic>
        <p:nvPicPr>
          <p:cNvPr id="10" name="Obraz 9" descr="Obraz zawierający osoba, zewnętrzne, automat&#10;&#10;Opis wygenerowany automatycznie">
            <a:extLst>
              <a:ext uri="{FF2B5EF4-FFF2-40B4-BE49-F238E27FC236}">
                <a16:creationId xmlns:a16="http://schemas.microsoft.com/office/drawing/2014/main" id="{8095D9E3-61B6-87C8-E170-04977311FED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125"/>
          <a:stretch/>
        </p:blipFill>
        <p:spPr>
          <a:xfrm rot="5400000">
            <a:off x="7582945" y="1682209"/>
            <a:ext cx="6291263" cy="2926845"/>
          </a:xfrm>
          <a:prstGeom prst="rect">
            <a:avLst/>
          </a:prstGeom>
        </p:spPr>
      </p:pic>
      <p:pic>
        <p:nvPicPr>
          <p:cNvPr id="7" name="Obraz 6" descr="Zasób 6.png">
            <a:extLst>
              <a:ext uri="{FF2B5EF4-FFF2-40B4-BE49-F238E27FC236}">
                <a16:creationId xmlns:a16="http://schemas.microsoft.com/office/drawing/2014/main" id="{851A1C91-E81F-E382-30AD-F714F8082E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7992" y="3906518"/>
            <a:ext cx="2858360" cy="225631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8" name="Symbol zastępczy zawartości 33">
            <a:extLst>
              <a:ext uri="{FF2B5EF4-FFF2-40B4-BE49-F238E27FC236}">
                <a16:creationId xmlns:a16="http://schemas.microsoft.com/office/drawing/2014/main" id="{A1AA57A1-AC44-BB53-D14D-DFCC141B9AE4}"/>
              </a:ext>
            </a:extLst>
          </p:cNvPr>
          <p:cNvSpPr txBox="1">
            <a:spLocks/>
          </p:cNvSpPr>
          <p:nvPr/>
        </p:nvSpPr>
        <p:spPr>
          <a:xfrm>
            <a:off x="9011346" y="4162644"/>
            <a:ext cx="3109655" cy="2009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285750" marR="0" lvl="0" indent="-285750" algn="ctr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53545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otham Book" pitchFamily="50" charset="0"/>
                <a:cs typeface="Gotham Book" pitchFamily="50" charset="0"/>
              </a:rPr>
              <a:t>Wstaw aktualne zdjęcia z Twojej budowy</a:t>
            </a:r>
          </a:p>
          <a:p>
            <a:pPr marL="285750" marR="0" lvl="0" indent="-285750" algn="ctr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53545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otham Book" pitchFamily="50" charset="0"/>
                <a:cs typeface="Gotham Book" pitchFamily="50" charset="0"/>
              </a:rPr>
              <a:t> UWAGA! wybierz zdjęcia na których przestrzegane są zasady BHP</a:t>
            </a:r>
          </a:p>
        </p:txBody>
      </p:sp>
    </p:spTree>
    <p:extLst>
      <p:ext uri="{BB962C8B-B14F-4D97-AF65-F5344CB8AC3E}">
        <p14:creationId xmlns:p14="http://schemas.microsoft.com/office/powerpoint/2010/main" val="13953864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 descr="Obraz zawierający tekst, transport&#10;&#10;Opis wygenerowany automatycznie">
            <a:extLst>
              <a:ext uri="{FF2B5EF4-FFF2-40B4-BE49-F238E27FC236}">
                <a16:creationId xmlns:a16="http://schemas.microsoft.com/office/drawing/2014/main" id="{1339D186-3611-2E2C-070C-E4EE9756EA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659855" y="1603605"/>
            <a:ext cx="6362703" cy="3155493"/>
          </a:xfrm>
          <a:prstGeom prst="rect">
            <a:avLst/>
          </a:prstGeom>
        </p:spPr>
      </p:pic>
      <p:sp>
        <p:nvSpPr>
          <p:cNvPr id="38" name="Tytuł 3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z="2200" dirty="0">
                <a:latin typeface="Aptos"/>
                <a:cs typeface="Arial" panose="020B0604020202020204" pitchFamily="34" charset="0"/>
              </a:rPr>
              <a:t>Podstawowe zasady dla gości</a:t>
            </a:r>
            <a:br>
              <a:rPr lang="pl-PL" dirty="0">
                <a:latin typeface="Aptos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Basic </a:t>
            </a:r>
            <a:r>
              <a:rPr lang="pl-PL" dirty="0" err="1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rules</a:t>
            </a: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 for visitors</a:t>
            </a:r>
          </a:p>
        </p:txBody>
      </p:sp>
      <p:sp>
        <p:nvSpPr>
          <p:cNvPr id="44" name="Symbol zastępczy zawartości 2">
            <a:extLst>
              <a:ext uri="{FF2B5EF4-FFF2-40B4-BE49-F238E27FC236}">
                <a16:creationId xmlns:a16="http://schemas.microsoft.com/office/drawing/2014/main" id="{893909E9-DEDF-4F8B-9D6C-872890268F9B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8705850" y="3268663"/>
            <a:ext cx="3486150" cy="2997200"/>
          </a:xfrm>
        </p:spPr>
        <p:txBody>
          <a:bodyPr>
            <a:normAutofit/>
          </a:bodyPr>
          <a:lstStyle/>
          <a:p>
            <a:pPr marL="6350" indent="-6350">
              <a:buFont typeface="Wingdings" panose="05000000000000000000" pitchFamily="2" charset="2"/>
              <a:buChar char="§"/>
              <a:defRPr/>
            </a:pPr>
            <a:endParaRPr lang="en-US" sz="1800" b="1" dirty="0">
              <a:latin typeface="Aptos"/>
            </a:endParaRPr>
          </a:p>
          <a:p>
            <a:pPr>
              <a:lnSpc>
                <a:spcPct val="2000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endParaRPr lang="pl-PL" sz="1800" dirty="0">
              <a:latin typeface="Aptos"/>
            </a:endParaRPr>
          </a:p>
        </p:txBody>
      </p:sp>
      <p:sp>
        <p:nvSpPr>
          <p:cNvPr id="45" name="Symbol zastępczy zawartości 33">
            <a:extLst>
              <a:ext uri="{FF2B5EF4-FFF2-40B4-BE49-F238E27FC236}">
                <a16:creationId xmlns:a16="http://schemas.microsoft.com/office/drawing/2014/main" id="{F9B95D2E-0081-400F-A1F3-ACBEF073904C}"/>
              </a:ext>
            </a:extLst>
          </p:cNvPr>
          <p:cNvSpPr txBox="1">
            <a:spLocks/>
          </p:cNvSpPr>
          <p:nvPr/>
        </p:nvSpPr>
        <p:spPr>
          <a:xfrm>
            <a:off x="247650" y="2633402"/>
            <a:ext cx="9003227" cy="6352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Font typeface="Wingdings" pitchFamily="2" charset="2"/>
              <a:buChar char="§"/>
            </a:pPr>
            <a:r>
              <a:rPr lang="pl-PL" sz="1800" dirty="0">
                <a:latin typeface="Aptos"/>
                <a:cs typeface="Arial" panose="020B0604020202020204" pitchFamily="34" charset="0"/>
              </a:rPr>
              <a:t>Poruszaj się wyznaczonymi ciągami pieszymi,  nie wchodź w wygrodzone strefy niebezpieczne; </a:t>
            </a:r>
            <a:br>
              <a:rPr lang="pl-PL" sz="1800" dirty="0">
                <a:latin typeface="Aptos"/>
                <a:cs typeface="Arial" panose="020B0604020202020204" pitchFamily="34" charset="0"/>
              </a:rPr>
            </a:br>
            <a:r>
              <a:rPr lang="pl-PL" sz="1800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Use </a:t>
            </a:r>
            <a:r>
              <a:rPr lang="pl-PL" sz="1800" dirty="0" err="1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designated</a:t>
            </a:r>
            <a:r>
              <a:rPr lang="pl-PL" sz="1800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 </a:t>
            </a:r>
            <a:r>
              <a:rPr lang="pl-PL" sz="1800" dirty="0" err="1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pedestrian</a:t>
            </a:r>
            <a:r>
              <a:rPr lang="pl-PL" sz="1800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 </a:t>
            </a:r>
            <a:r>
              <a:rPr lang="pl-PL" sz="1800" dirty="0" err="1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routes</a:t>
            </a:r>
            <a:r>
              <a:rPr lang="pl-PL" sz="1800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, </a:t>
            </a:r>
            <a:r>
              <a:rPr lang="pl-PL" sz="1800" dirty="0" err="1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don’t</a:t>
            </a:r>
            <a:r>
              <a:rPr lang="pl-PL" sz="1800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 </a:t>
            </a:r>
            <a:r>
              <a:rPr lang="pl-PL" sz="1800" dirty="0" err="1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enter</a:t>
            </a:r>
            <a:r>
              <a:rPr lang="pl-PL" sz="1800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 hazardous zones</a:t>
            </a:r>
            <a:r>
              <a:rPr lang="pl-PL" sz="1800" i="1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;</a:t>
            </a:r>
          </a:p>
        </p:txBody>
      </p:sp>
      <p:pic>
        <p:nvPicPr>
          <p:cNvPr id="36" name="Symbol zastępczy zawartości 13">
            <a:extLst>
              <a:ext uri="{FF2B5EF4-FFF2-40B4-BE49-F238E27FC236}">
                <a16:creationId xmlns:a16="http://schemas.microsoft.com/office/drawing/2014/main" id="{3395D715-35BA-454C-AD18-B6D514C6E56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5274" y="30346"/>
            <a:ext cx="1090576" cy="1054709"/>
          </a:xfrm>
          <a:prstGeom prst="rect">
            <a:avLst/>
          </a:prstGeom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7" name="Picture 5" descr="C:\Users\KarpaK\Desktop\no photos.png">
            <a:extLst>
              <a:ext uri="{FF2B5EF4-FFF2-40B4-BE49-F238E27FC236}">
                <a16:creationId xmlns:a16="http://schemas.microsoft.com/office/drawing/2014/main" id="{DEF89E6C-CCA8-4701-9930-BB55BA7B9A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78340" y="1368572"/>
            <a:ext cx="869128" cy="8700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Symbol zastępczy zawartości 33">
            <a:extLst>
              <a:ext uri="{FF2B5EF4-FFF2-40B4-BE49-F238E27FC236}">
                <a16:creationId xmlns:a16="http://schemas.microsoft.com/office/drawing/2014/main" id="{C1AC4BBE-2A4E-476C-BE20-7231B7787DD8}"/>
              </a:ext>
            </a:extLst>
          </p:cNvPr>
          <p:cNvSpPr txBox="1">
            <a:spLocks/>
          </p:cNvSpPr>
          <p:nvPr/>
        </p:nvSpPr>
        <p:spPr>
          <a:xfrm>
            <a:off x="266699" y="1862028"/>
            <a:ext cx="8865426" cy="6547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Font typeface="Wingdings" pitchFamily="2" charset="2"/>
              <a:buChar char="§"/>
            </a:pPr>
            <a:r>
              <a:rPr lang="pl-PL" sz="1800" dirty="0">
                <a:latin typeface="Aptos"/>
                <a:cs typeface="Arial" panose="020B0604020202020204" pitchFamily="34" charset="0"/>
              </a:rPr>
              <a:t>Zachowaj szczególną ostrożność podczas wizyty na budowie;</a:t>
            </a:r>
            <a:br>
              <a:rPr lang="pl-PL" sz="1800" dirty="0">
                <a:latin typeface="Aptos"/>
                <a:cs typeface="Arial" panose="020B0604020202020204" pitchFamily="34" charset="0"/>
              </a:rPr>
            </a:br>
            <a:r>
              <a:rPr lang="pl-PL" sz="1800" dirty="0">
                <a:solidFill>
                  <a:schemeClr val="bg1">
                    <a:lumMod val="75000"/>
                  </a:schemeClr>
                </a:solidFill>
                <a:latin typeface="Aptos"/>
                <a:cs typeface="Arial" panose="020B0604020202020204" pitchFamily="34" charset="0"/>
              </a:rPr>
              <a:t>Please be </a:t>
            </a:r>
            <a:r>
              <a:rPr lang="pl-PL" sz="1800" dirty="0" err="1">
                <a:solidFill>
                  <a:schemeClr val="bg1">
                    <a:lumMod val="75000"/>
                  </a:schemeClr>
                </a:solidFill>
                <a:latin typeface="Aptos"/>
                <a:cs typeface="Arial" panose="020B0604020202020204" pitchFamily="34" charset="0"/>
              </a:rPr>
              <a:t>careful</a:t>
            </a:r>
            <a:r>
              <a:rPr lang="pl-PL" sz="1800" dirty="0">
                <a:solidFill>
                  <a:schemeClr val="bg1">
                    <a:lumMod val="75000"/>
                  </a:schemeClr>
                </a:solidFill>
                <a:latin typeface="Aptos"/>
                <a:cs typeface="Arial" panose="020B0604020202020204" pitchFamily="34" charset="0"/>
              </a:rPr>
              <a:t> </a:t>
            </a:r>
            <a:r>
              <a:rPr lang="pl-PL" sz="1800" dirty="0" err="1">
                <a:solidFill>
                  <a:schemeClr val="bg1">
                    <a:lumMod val="75000"/>
                  </a:schemeClr>
                </a:solidFill>
                <a:latin typeface="Aptos"/>
                <a:cs typeface="Arial" panose="020B0604020202020204" pitchFamily="34" charset="0"/>
              </a:rPr>
              <a:t>when</a:t>
            </a:r>
            <a:r>
              <a:rPr lang="pl-PL" sz="1800" dirty="0">
                <a:solidFill>
                  <a:schemeClr val="bg1">
                    <a:lumMod val="75000"/>
                  </a:schemeClr>
                </a:solidFill>
                <a:latin typeface="Aptos"/>
                <a:cs typeface="Arial" panose="020B0604020202020204" pitchFamily="34" charset="0"/>
              </a:rPr>
              <a:t> on site;</a:t>
            </a:r>
          </a:p>
          <a:p>
            <a:pPr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Font typeface="Wingdings" pitchFamily="2" charset="2"/>
              <a:buChar char="§"/>
            </a:pPr>
            <a:endParaRPr lang="pl-PL" sz="1800" i="1" dirty="0">
              <a:solidFill>
                <a:schemeClr val="bg1">
                  <a:lumMod val="50000"/>
                </a:schemeClr>
              </a:solidFill>
              <a:latin typeface="Aptos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None/>
            </a:pPr>
            <a:endParaRPr lang="pl-PL" sz="1800" dirty="0">
              <a:latin typeface="Aptos"/>
              <a:cs typeface="Gotham Book" pitchFamily="50" charset="0"/>
            </a:endParaRPr>
          </a:p>
        </p:txBody>
      </p:sp>
      <p:sp>
        <p:nvSpPr>
          <p:cNvPr id="9" name="Symbol zastępczy zawartości 33">
            <a:extLst>
              <a:ext uri="{FF2B5EF4-FFF2-40B4-BE49-F238E27FC236}">
                <a16:creationId xmlns:a16="http://schemas.microsoft.com/office/drawing/2014/main" id="{55B2AD5E-CFC8-4F7B-8993-4F1AD8ACA09D}"/>
              </a:ext>
            </a:extLst>
          </p:cNvPr>
          <p:cNvSpPr txBox="1">
            <a:spLocks/>
          </p:cNvSpPr>
          <p:nvPr/>
        </p:nvSpPr>
        <p:spPr>
          <a:xfrm>
            <a:off x="247650" y="4775925"/>
            <a:ext cx="8884475" cy="13234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Font typeface="Wingdings" pitchFamily="2" charset="2"/>
              <a:buChar char="§"/>
            </a:pPr>
            <a:r>
              <a:rPr lang="pl-PL" sz="1800" dirty="0">
                <a:latin typeface="Aptos"/>
                <a:cs typeface="Arial" panose="020B0604020202020204" pitchFamily="34" charset="0"/>
              </a:rPr>
              <a:t>Używanie telefonów komórkowych oraz robienie zdjęć  bez zgody jest zabronione;</a:t>
            </a:r>
            <a:br>
              <a:rPr lang="pl-PL" sz="1800" dirty="0">
                <a:latin typeface="Aptos"/>
                <a:cs typeface="Arial" panose="020B0604020202020204" pitchFamily="34" charset="0"/>
              </a:rPr>
            </a:br>
            <a:r>
              <a:rPr lang="pl-PL" sz="1800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Using of mobile phones and </a:t>
            </a:r>
            <a:r>
              <a:rPr lang="pl-PL" sz="1800" dirty="0" err="1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taking</a:t>
            </a:r>
            <a:r>
              <a:rPr lang="pl-PL" sz="1800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 </a:t>
            </a:r>
            <a:r>
              <a:rPr lang="pl-PL" sz="1800" dirty="0" err="1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pictures</a:t>
            </a:r>
            <a:r>
              <a:rPr lang="pl-PL" sz="1800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 </a:t>
            </a:r>
            <a:r>
              <a:rPr lang="pl-PL" sz="1800" dirty="0" err="1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without</a:t>
            </a:r>
            <a:r>
              <a:rPr lang="pl-PL" sz="1800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 </a:t>
            </a:r>
            <a:r>
              <a:rPr lang="pl-PL" sz="1800" dirty="0" err="1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permission</a:t>
            </a:r>
            <a:r>
              <a:rPr lang="pl-PL" sz="1800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 is forbidden</a:t>
            </a:r>
            <a:r>
              <a:rPr lang="pl-PL" sz="1800" i="1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;</a:t>
            </a:r>
          </a:p>
          <a:p>
            <a:pPr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None/>
            </a:pPr>
            <a:endParaRPr lang="pl-PL" sz="1800" dirty="0">
              <a:latin typeface="Aptos"/>
              <a:cs typeface="Gotham Book" pitchFamily="50" charset="0"/>
            </a:endParaRPr>
          </a:p>
        </p:txBody>
      </p:sp>
      <p:sp>
        <p:nvSpPr>
          <p:cNvPr id="2" name="Symbol zastępczy zawartości 33">
            <a:extLst>
              <a:ext uri="{FF2B5EF4-FFF2-40B4-BE49-F238E27FC236}">
                <a16:creationId xmlns:a16="http://schemas.microsoft.com/office/drawing/2014/main" id="{3EAC2E8E-636C-51AD-41EA-253F1938CB9F}"/>
              </a:ext>
            </a:extLst>
          </p:cNvPr>
          <p:cNvSpPr txBox="1">
            <a:spLocks/>
          </p:cNvSpPr>
          <p:nvPr/>
        </p:nvSpPr>
        <p:spPr>
          <a:xfrm>
            <a:off x="266699" y="3744893"/>
            <a:ext cx="8765241" cy="9632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Font typeface="Wingdings" pitchFamily="2" charset="2"/>
              <a:buChar char="§"/>
            </a:pPr>
            <a:r>
              <a:rPr lang="pl-PL" sz="1800" dirty="0">
                <a:latin typeface="Aptos"/>
                <a:cs typeface="Arial" panose="020B0604020202020204" pitchFamily="34" charset="0"/>
              </a:rPr>
              <a:t>Zwracaj uwagę na dźwiękowe sygnały ostrzegawcze np. gwizdki i sygnały cofania.</a:t>
            </a:r>
            <a:br>
              <a:rPr lang="pl-PL" sz="1800" dirty="0">
                <a:latin typeface="Aptos"/>
                <a:cs typeface="Arial" panose="020B0604020202020204" pitchFamily="34" charset="0"/>
              </a:rPr>
            </a:b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Pay attention to audible warning signals, such as</a:t>
            </a:r>
            <a:r>
              <a:rPr lang="pl-PL" sz="1800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 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whistles and reversing signals.</a:t>
            </a:r>
            <a:endParaRPr lang="pl-PL" sz="1800" i="1" dirty="0">
              <a:solidFill>
                <a:schemeClr val="bg1">
                  <a:lumMod val="50000"/>
                </a:schemeClr>
              </a:solidFill>
              <a:latin typeface="Aptos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None/>
            </a:pPr>
            <a:endParaRPr lang="pl-PL" sz="1800" dirty="0">
              <a:latin typeface="Aptos"/>
              <a:cs typeface="Gotham Book" pitchFamily="50" charset="0"/>
            </a:endParaRPr>
          </a:p>
        </p:txBody>
      </p:sp>
      <p:pic>
        <p:nvPicPr>
          <p:cNvPr id="3" name="Obraz 2" descr="Zasób 6.png">
            <a:extLst>
              <a:ext uri="{FF2B5EF4-FFF2-40B4-BE49-F238E27FC236}">
                <a16:creationId xmlns:a16="http://schemas.microsoft.com/office/drawing/2014/main" id="{FA24F3FA-0084-A9E1-8056-557B7DB8BDC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60106" y="4009549"/>
            <a:ext cx="2858360" cy="225631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4" name="Symbol zastępczy zawartości 33">
            <a:extLst>
              <a:ext uri="{FF2B5EF4-FFF2-40B4-BE49-F238E27FC236}">
                <a16:creationId xmlns:a16="http://schemas.microsoft.com/office/drawing/2014/main" id="{1F8A6222-998E-3EC0-BF82-3FF34726A0E4}"/>
              </a:ext>
            </a:extLst>
          </p:cNvPr>
          <p:cNvSpPr txBox="1">
            <a:spLocks/>
          </p:cNvSpPr>
          <p:nvPr/>
        </p:nvSpPr>
        <p:spPr>
          <a:xfrm>
            <a:off x="9263460" y="4265675"/>
            <a:ext cx="3109655" cy="2009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285750" marR="0" lvl="0" indent="-285750" algn="ctr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53545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otham Book" pitchFamily="50" charset="0"/>
                <a:cs typeface="Gotham Book" pitchFamily="50" charset="0"/>
              </a:rPr>
              <a:t>Wstaw aktualne zdjęcia z Twojej budowy</a:t>
            </a:r>
          </a:p>
          <a:p>
            <a:pPr marL="285750" marR="0" lvl="0" indent="-285750" algn="ctr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53545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otham Book" pitchFamily="50" charset="0"/>
                <a:cs typeface="Gotham Book" pitchFamily="50" charset="0"/>
              </a:rPr>
              <a:t> UWAGA! wybierz zdjęcia na których przestrzegane są zasady BHP</a:t>
            </a:r>
          </a:p>
        </p:txBody>
      </p:sp>
    </p:spTree>
    <p:extLst>
      <p:ext uri="{BB962C8B-B14F-4D97-AF65-F5344CB8AC3E}">
        <p14:creationId xmlns:p14="http://schemas.microsoft.com/office/powerpoint/2010/main" val="42802387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stokąt 1">
            <a:extLst>
              <a:ext uri="{FF2B5EF4-FFF2-40B4-BE49-F238E27FC236}">
                <a16:creationId xmlns:a16="http://schemas.microsoft.com/office/drawing/2014/main" id="{D32FD927-0D75-B8EE-750B-AFC9CEE549FF}"/>
              </a:ext>
            </a:extLst>
          </p:cNvPr>
          <p:cNvSpPr/>
          <p:nvPr/>
        </p:nvSpPr>
        <p:spPr>
          <a:xfrm>
            <a:off x="0" y="774700"/>
            <a:ext cx="12192000" cy="5524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>
              <a:latin typeface="Aptos"/>
            </a:endParaRPr>
          </a:p>
        </p:txBody>
      </p:sp>
      <p:pic>
        <p:nvPicPr>
          <p:cNvPr id="38" name="Symbol zastępczy obrazu 37" descr="Obraz15.jpg"/>
          <p:cNvPicPr>
            <a:picLocks noGrp="1" noChangeAspect="1"/>
          </p:cNvPicPr>
          <p:nvPr>
            <p:ph type="pic" idx="1"/>
          </p:nvPr>
        </p:nvPicPr>
        <p:blipFill rotWithShape="1">
          <a:blip r:embed="rId3"/>
          <a:srcRect l="29706" b="-299"/>
          <a:stretch/>
        </p:blipFill>
        <p:spPr>
          <a:xfrm>
            <a:off x="9238058" y="0"/>
            <a:ext cx="2953941" cy="6299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1" name="Symbol zastępczy zawartości 33">
            <a:extLst>
              <a:ext uri="{FF2B5EF4-FFF2-40B4-BE49-F238E27FC236}">
                <a16:creationId xmlns:a16="http://schemas.microsoft.com/office/drawing/2014/main" id="{F9B95D2E-0081-400F-A1F3-ACBEF073904C}"/>
              </a:ext>
            </a:extLst>
          </p:cNvPr>
          <p:cNvSpPr txBox="1">
            <a:spLocks/>
          </p:cNvSpPr>
          <p:nvPr/>
        </p:nvSpPr>
        <p:spPr>
          <a:xfrm>
            <a:off x="1371510" y="1607436"/>
            <a:ext cx="5389508" cy="1111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None/>
            </a:pPr>
            <a:r>
              <a:rPr lang="pl-PL" sz="3200" dirty="0">
                <a:latin typeface="Aptos"/>
                <a:cs typeface="Gotham Book" pitchFamily="50" charset="0"/>
              </a:rPr>
              <a:t>Dziękuję za uwagę! </a:t>
            </a:r>
            <a:br>
              <a:rPr lang="pl-PL" sz="2400" dirty="0">
                <a:latin typeface="Aptos"/>
                <a:cs typeface="Gotham Book" pitchFamily="50" charset="0"/>
              </a:rPr>
            </a:br>
            <a:r>
              <a:rPr lang="pl-PL" sz="2400" dirty="0" err="1">
                <a:solidFill>
                  <a:schemeClr val="bg1">
                    <a:lumMod val="50000"/>
                  </a:schemeClr>
                </a:solidFill>
                <a:latin typeface="Aptos"/>
                <a:cs typeface="Gotham Light" pitchFamily="50" charset="0"/>
              </a:rPr>
              <a:t>Thank</a:t>
            </a:r>
            <a:r>
              <a:rPr lang="pl-PL" sz="2400" dirty="0">
                <a:solidFill>
                  <a:schemeClr val="bg1">
                    <a:lumMod val="50000"/>
                  </a:schemeClr>
                </a:solidFill>
                <a:latin typeface="Aptos"/>
                <a:cs typeface="Gotham Light" pitchFamily="50" charset="0"/>
              </a:rPr>
              <a:t> </a:t>
            </a:r>
            <a:r>
              <a:rPr lang="pl-PL" sz="2400" dirty="0" err="1">
                <a:solidFill>
                  <a:schemeClr val="bg1">
                    <a:lumMod val="50000"/>
                  </a:schemeClr>
                </a:solidFill>
                <a:latin typeface="Aptos"/>
                <a:cs typeface="Gotham Light" pitchFamily="50" charset="0"/>
              </a:rPr>
              <a:t>you</a:t>
            </a:r>
            <a:r>
              <a:rPr lang="pl-PL" sz="2400" dirty="0">
                <a:solidFill>
                  <a:schemeClr val="bg1">
                    <a:lumMod val="50000"/>
                  </a:schemeClr>
                </a:solidFill>
                <a:latin typeface="Aptos"/>
                <a:cs typeface="Gotham Light" pitchFamily="50" charset="0"/>
              </a:rPr>
              <a:t> for your </a:t>
            </a:r>
            <a:r>
              <a:rPr lang="pl-PL" sz="2400" dirty="0" err="1">
                <a:solidFill>
                  <a:schemeClr val="bg1">
                    <a:lumMod val="50000"/>
                  </a:schemeClr>
                </a:solidFill>
                <a:latin typeface="Aptos"/>
                <a:cs typeface="Gotham Light" pitchFamily="50" charset="0"/>
              </a:rPr>
              <a:t>attention</a:t>
            </a:r>
            <a:r>
              <a:rPr lang="pl-PL" sz="2400" dirty="0">
                <a:solidFill>
                  <a:schemeClr val="bg1">
                    <a:lumMod val="50000"/>
                  </a:schemeClr>
                </a:solidFill>
                <a:latin typeface="Aptos"/>
                <a:cs typeface="Gotham Light" pitchFamily="50" charset="0"/>
              </a:rPr>
              <a:t>!</a:t>
            </a:r>
            <a:endParaRPr lang="pl-PL" sz="2400" i="1" dirty="0">
              <a:solidFill>
                <a:schemeClr val="bg1">
                  <a:lumMod val="50000"/>
                </a:schemeClr>
              </a:solidFill>
              <a:latin typeface="Aptos"/>
              <a:cs typeface="Gotham Book" pitchFamily="50" charset="0"/>
            </a:endParaRPr>
          </a:p>
          <a:p>
            <a:pPr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None/>
            </a:pPr>
            <a:endParaRPr lang="pl-PL" sz="2400" dirty="0">
              <a:latin typeface="Aptos"/>
              <a:cs typeface="Gotham Book" pitchFamily="50" charset="0"/>
            </a:endParaRPr>
          </a:p>
        </p:txBody>
      </p:sp>
      <p:sp>
        <p:nvSpPr>
          <p:cNvPr id="6" name="Symbol zastępczy zawartości 33">
            <a:extLst>
              <a:ext uri="{FF2B5EF4-FFF2-40B4-BE49-F238E27FC236}">
                <a16:creationId xmlns:a16="http://schemas.microsoft.com/office/drawing/2014/main" id="{274F0CA6-3726-4496-97EC-315164686118}"/>
              </a:ext>
            </a:extLst>
          </p:cNvPr>
          <p:cNvSpPr txBox="1">
            <a:spLocks/>
          </p:cNvSpPr>
          <p:nvPr/>
        </p:nvSpPr>
        <p:spPr>
          <a:xfrm>
            <a:off x="1371510" y="3085643"/>
            <a:ext cx="5389508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None/>
            </a:pPr>
            <a:r>
              <a:rPr lang="pl-PL" sz="2400" dirty="0">
                <a:latin typeface="Aptos"/>
                <a:cs typeface="Gotham Book" pitchFamily="50" charset="0"/>
              </a:rPr>
              <a:t>Czy masz jakieś pytania?</a:t>
            </a:r>
            <a:br>
              <a:rPr lang="pl-PL" sz="2400" dirty="0">
                <a:latin typeface="Aptos"/>
                <a:cs typeface="Gotham Book" pitchFamily="50" charset="0"/>
              </a:rPr>
            </a:br>
            <a:r>
              <a:rPr lang="pl-PL" sz="2400" dirty="0">
                <a:solidFill>
                  <a:schemeClr val="bg1">
                    <a:lumMod val="50000"/>
                  </a:schemeClr>
                </a:solidFill>
                <a:latin typeface="Aptos"/>
                <a:cs typeface="Gotham Light" pitchFamily="50" charset="0"/>
              </a:rPr>
              <a:t>Do </a:t>
            </a:r>
            <a:r>
              <a:rPr lang="pl-PL" sz="2400" dirty="0" err="1">
                <a:solidFill>
                  <a:schemeClr val="bg1">
                    <a:lumMod val="50000"/>
                  </a:schemeClr>
                </a:solidFill>
                <a:latin typeface="Aptos"/>
                <a:cs typeface="Gotham Light" pitchFamily="50" charset="0"/>
              </a:rPr>
              <a:t>you</a:t>
            </a:r>
            <a:r>
              <a:rPr lang="pl-PL" sz="2400" dirty="0">
                <a:solidFill>
                  <a:schemeClr val="bg1">
                    <a:lumMod val="50000"/>
                  </a:schemeClr>
                </a:solidFill>
                <a:latin typeface="Aptos"/>
                <a:cs typeface="Gotham Light" pitchFamily="50" charset="0"/>
              </a:rPr>
              <a:t> </a:t>
            </a:r>
            <a:r>
              <a:rPr lang="pl-PL" sz="2400" dirty="0" err="1">
                <a:solidFill>
                  <a:schemeClr val="bg1">
                    <a:lumMod val="50000"/>
                  </a:schemeClr>
                </a:solidFill>
                <a:latin typeface="Aptos"/>
                <a:cs typeface="Gotham Light" pitchFamily="50" charset="0"/>
              </a:rPr>
              <a:t>have</a:t>
            </a:r>
            <a:r>
              <a:rPr lang="pl-PL" sz="2400" dirty="0">
                <a:solidFill>
                  <a:schemeClr val="bg1">
                    <a:lumMod val="50000"/>
                  </a:schemeClr>
                </a:solidFill>
                <a:latin typeface="Aptos"/>
                <a:cs typeface="Gotham Light" pitchFamily="50" charset="0"/>
              </a:rPr>
              <a:t> </a:t>
            </a:r>
            <a:r>
              <a:rPr lang="pl-PL" sz="2400" dirty="0" err="1">
                <a:solidFill>
                  <a:schemeClr val="bg1">
                    <a:lumMod val="50000"/>
                  </a:schemeClr>
                </a:solidFill>
                <a:latin typeface="Aptos"/>
                <a:cs typeface="Gotham Light" pitchFamily="50" charset="0"/>
              </a:rPr>
              <a:t>any</a:t>
            </a:r>
            <a:r>
              <a:rPr lang="pl-PL" sz="2400" dirty="0">
                <a:solidFill>
                  <a:schemeClr val="bg1">
                    <a:lumMod val="50000"/>
                  </a:schemeClr>
                </a:solidFill>
                <a:latin typeface="Aptos"/>
                <a:cs typeface="Gotham Light" pitchFamily="50" charset="0"/>
              </a:rPr>
              <a:t> </a:t>
            </a:r>
            <a:r>
              <a:rPr lang="pl-PL" sz="2400" dirty="0" err="1">
                <a:solidFill>
                  <a:schemeClr val="bg1">
                    <a:lumMod val="50000"/>
                  </a:schemeClr>
                </a:solidFill>
                <a:latin typeface="Aptos"/>
                <a:cs typeface="Gotham Light" pitchFamily="50" charset="0"/>
              </a:rPr>
              <a:t>questions</a:t>
            </a:r>
            <a:r>
              <a:rPr lang="pl-PL" sz="2400" dirty="0">
                <a:solidFill>
                  <a:schemeClr val="bg1">
                    <a:lumMod val="50000"/>
                  </a:schemeClr>
                </a:solidFill>
                <a:latin typeface="Aptos"/>
                <a:cs typeface="Gotham Light" pitchFamily="50" charset="0"/>
              </a:rPr>
              <a:t>?</a:t>
            </a:r>
            <a:endParaRPr lang="pl-PL" sz="2400" i="1" dirty="0">
              <a:solidFill>
                <a:schemeClr val="bg1">
                  <a:lumMod val="50000"/>
                </a:schemeClr>
              </a:solidFill>
              <a:latin typeface="Aptos"/>
              <a:cs typeface="Gotham Book" pitchFamily="50" charset="0"/>
            </a:endParaRPr>
          </a:p>
          <a:p>
            <a:pPr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None/>
            </a:pPr>
            <a:endParaRPr lang="pl-PL" sz="2400" dirty="0">
              <a:latin typeface="Aptos"/>
              <a:cs typeface="Gotham Book" pitchFamily="50" charset="0"/>
            </a:endParaRPr>
          </a:p>
        </p:txBody>
      </p:sp>
      <p:sp>
        <p:nvSpPr>
          <p:cNvPr id="7" name="Symbol zastępczy zawartości 33">
            <a:extLst>
              <a:ext uri="{FF2B5EF4-FFF2-40B4-BE49-F238E27FC236}">
                <a16:creationId xmlns:a16="http://schemas.microsoft.com/office/drawing/2014/main" id="{71BD9C04-B04A-4484-9BBE-2FCF6E1CDC11}"/>
              </a:ext>
            </a:extLst>
          </p:cNvPr>
          <p:cNvSpPr txBox="1">
            <a:spLocks/>
          </p:cNvSpPr>
          <p:nvPr/>
        </p:nvSpPr>
        <p:spPr>
          <a:xfrm>
            <a:off x="1371510" y="3846555"/>
            <a:ext cx="5389508" cy="14904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None/>
            </a:pPr>
            <a:r>
              <a:rPr lang="pl-PL" sz="2400" dirty="0">
                <a:latin typeface="Aptos"/>
                <a:cs typeface="Gotham Book" pitchFamily="50" charset="0"/>
              </a:rPr>
              <a:t>Prozę podpisz listę obecności.</a:t>
            </a:r>
            <a:br>
              <a:rPr lang="pl-PL" sz="2400" dirty="0">
                <a:latin typeface="Aptos"/>
                <a:cs typeface="Gotham Book" pitchFamily="50" charset="0"/>
              </a:rPr>
            </a:br>
            <a:r>
              <a:rPr lang="pl-PL" sz="2400" dirty="0">
                <a:solidFill>
                  <a:schemeClr val="bg1">
                    <a:lumMod val="50000"/>
                  </a:schemeClr>
                </a:solidFill>
                <a:latin typeface="Aptos"/>
                <a:cs typeface="Gotham Light" pitchFamily="50" charset="0"/>
              </a:rPr>
              <a:t>Please </a:t>
            </a:r>
            <a:r>
              <a:rPr lang="pl-PL" sz="2400" dirty="0" err="1">
                <a:solidFill>
                  <a:schemeClr val="bg1">
                    <a:lumMod val="50000"/>
                  </a:schemeClr>
                </a:solidFill>
                <a:latin typeface="Aptos"/>
                <a:cs typeface="Gotham Light" pitchFamily="50" charset="0"/>
              </a:rPr>
              <a:t>sign</a:t>
            </a:r>
            <a:r>
              <a:rPr lang="pl-PL" sz="2400" dirty="0">
                <a:solidFill>
                  <a:schemeClr val="bg1">
                    <a:lumMod val="50000"/>
                  </a:schemeClr>
                </a:solidFill>
                <a:latin typeface="Aptos"/>
                <a:cs typeface="Gotham Light" pitchFamily="50" charset="0"/>
              </a:rPr>
              <a:t> </a:t>
            </a:r>
            <a:r>
              <a:rPr lang="pl-PL" sz="2400" dirty="0" err="1">
                <a:solidFill>
                  <a:schemeClr val="bg1">
                    <a:lumMod val="50000"/>
                  </a:schemeClr>
                </a:solidFill>
                <a:latin typeface="Aptos"/>
                <a:cs typeface="Gotham Light" pitchFamily="50" charset="0"/>
              </a:rPr>
              <a:t>attendance</a:t>
            </a:r>
            <a:r>
              <a:rPr lang="pl-PL" sz="2400" dirty="0">
                <a:solidFill>
                  <a:schemeClr val="bg1">
                    <a:lumMod val="50000"/>
                  </a:schemeClr>
                </a:solidFill>
                <a:latin typeface="Aptos"/>
                <a:cs typeface="Gotham Light" pitchFamily="50" charset="0"/>
              </a:rPr>
              <a:t> list.</a:t>
            </a:r>
            <a:endParaRPr lang="pl-PL" sz="2400" i="1" dirty="0">
              <a:solidFill>
                <a:schemeClr val="bg1">
                  <a:lumMod val="50000"/>
                </a:schemeClr>
              </a:solidFill>
              <a:latin typeface="Aptos"/>
              <a:cs typeface="Gotham Book" pitchFamily="50" charset="0"/>
            </a:endParaRPr>
          </a:p>
          <a:p>
            <a:pPr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None/>
            </a:pPr>
            <a:endParaRPr lang="pl-PL" sz="2400" dirty="0">
              <a:latin typeface="Aptos"/>
              <a:cs typeface="Gotham Book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492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stokąt 1">
            <a:extLst>
              <a:ext uri="{FF2B5EF4-FFF2-40B4-BE49-F238E27FC236}">
                <a16:creationId xmlns:a16="http://schemas.microsoft.com/office/drawing/2014/main" id="{82E404CB-4913-0C7F-12EC-D47A17CDA3FE}"/>
              </a:ext>
            </a:extLst>
          </p:cNvPr>
          <p:cNvSpPr/>
          <p:nvPr/>
        </p:nvSpPr>
        <p:spPr>
          <a:xfrm>
            <a:off x="0" y="645883"/>
            <a:ext cx="12192000" cy="56599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pic>
        <p:nvPicPr>
          <p:cNvPr id="10" name="Symbol zastępczy obrazu 9" descr="Obraz zawierający zewnętrzne, budynek, trawa, droga&#10;&#10;Opis wygenerowany automatycznie">
            <a:extLst>
              <a:ext uri="{FF2B5EF4-FFF2-40B4-BE49-F238E27FC236}">
                <a16:creationId xmlns:a16="http://schemas.microsoft.com/office/drawing/2014/main" id="{422C0C24-681F-49D0-8069-877E14627506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21" r="12721"/>
          <a:stretch>
            <a:fillRect/>
          </a:stretch>
        </p:blipFill>
        <p:spPr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lvl="0"/>
            <a:r>
              <a:rPr lang="pl-PL" sz="2400" dirty="0">
                <a:latin typeface="Aptos"/>
                <a:cs typeface="Arial"/>
              </a:rPr>
              <a:t>Informacje o projekcie  </a:t>
            </a:r>
            <a:r>
              <a:rPr lang="pl-PL" dirty="0">
                <a:solidFill>
                  <a:srgbClr val="FB2F0D"/>
                </a:solidFill>
                <a:latin typeface="Aptos"/>
                <a:cs typeface="Arial"/>
              </a:rPr>
              <a:t>wpisz nazwę Twojego projektu</a:t>
            </a:r>
            <a:br>
              <a:rPr lang="pl-PL" dirty="0">
                <a:latin typeface="Aptos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ptos"/>
                <a:cs typeface="Arial"/>
              </a:rPr>
              <a:t>About the project</a:t>
            </a:r>
          </a:p>
        </p:txBody>
      </p:sp>
      <p:sp>
        <p:nvSpPr>
          <p:cNvPr id="21" name="pole tekstowe 20"/>
          <p:cNvSpPr txBox="1"/>
          <p:nvPr/>
        </p:nvSpPr>
        <p:spPr>
          <a:xfrm>
            <a:off x="266700" y="1943700"/>
            <a:ext cx="4997053" cy="286232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l-PL" dirty="0">
                <a:latin typeface="Aptos"/>
                <a:cs typeface="Arial"/>
              </a:rPr>
              <a:t>Zespół realizujący: </a:t>
            </a:r>
            <a:r>
              <a:rPr lang="pl-PL" dirty="0">
                <a:solidFill>
                  <a:srgbClr val="FF0000"/>
                </a:solidFill>
                <a:latin typeface="Aptos"/>
                <a:cs typeface="Arial"/>
              </a:rPr>
              <a:t>xxx </a:t>
            </a:r>
          </a:p>
          <a:p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ptos"/>
                <a:cs typeface="Arial"/>
              </a:rPr>
              <a:t>Site team</a:t>
            </a:r>
            <a:endParaRPr lang="pl-PL">
              <a:solidFill>
                <a:schemeClr val="bg1">
                  <a:lumMod val="50000"/>
                </a:schemeClr>
              </a:solidFill>
              <a:latin typeface="Aptos"/>
              <a:cs typeface="Arial"/>
            </a:endParaRPr>
          </a:p>
          <a:p>
            <a:pPr>
              <a:lnSpc>
                <a:spcPct val="150000"/>
              </a:lnSpc>
            </a:pPr>
            <a:r>
              <a:rPr lang="pl-PL" dirty="0">
                <a:latin typeface="Aptos"/>
                <a:cs typeface="Arial"/>
              </a:rPr>
              <a:t>Start</a:t>
            </a:r>
            <a:r>
              <a:rPr lang="pl-PL" b="1" dirty="0">
                <a:latin typeface="Aptos"/>
                <a:cs typeface="Arial"/>
              </a:rPr>
              <a:t>: </a:t>
            </a:r>
            <a:r>
              <a:rPr lang="pl-PL" dirty="0">
                <a:solidFill>
                  <a:srgbClr val="FF0000"/>
                </a:solidFill>
                <a:latin typeface="Aptos"/>
                <a:cs typeface="Arial"/>
              </a:rPr>
              <a:t>xxx</a:t>
            </a:r>
          </a:p>
          <a:p>
            <a:pPr>
              <a:lnSpc>
                <a:spcPct val="150000"/>
              </a:lnSpc>
            </a:pPr>
            <a:r>
              <a:rPr lang="pl-PL" dirty="0">
                <a:latin typeface="Aptos"/>
                <a:cs typeface="Arial"/>
              </a:rPr>
              <a:t>Zakończenie </a:t>
            </a: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ptos"/>
                <a:cs typeface="Arial"/>
              </a:rPr>
              <a:t>End</a:t>
            </a:r>
            <a:r>
              <a:rPr lang="pl-PL" dirty="0">
                <a:latin typeface="Aptos"/>
                <a:cs typeface="Arial"/>
              </a:rPr>
              <a:t>: </a:t>
            </a:r>
            <a:r>
              <a:rPr lang="pl-PL" dirty="0">
                <a:solidFill>
                  <a:srgbClr val="FF0000"/>
                </a:solidFill>
                <a:latin typeface="Aptos"/>
                <a:cs typeface="Arial"/>
              </a:rPr>
              <a:t>xxx</a:t>
            </a:r>
          </a:p>
          <a:p>
            <a:pPr>
              <a:lnSpc>
                <a:spcPct val="150000"/>
              </a:lnSpc>
            </a:pPr>
            <a:r>
              <a:rPr lang="pl-PL" dirty="0">
                <a:latin typeface="Aptos"/>
                <a:cs typeface="Arial"/>
              </a:rPr>
              <a:t>Wielkość projektu (PUM): </a:t>
            </a:r>
            <a:r>
              <a:rPr lang="pl-PL" dirty="0">
                <a:solidFill>
                  <a:srgbClr val="FF0000"/>
                </a:solidFill>
                <a:latin typeface="Aptos"/>
                <a:cs typeface="Arial"/>
              </a:rPr>
              <a:t>xxx </a:t>
            </a:r>
          </a:p>
          <a:p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ptos"/>
                <a:cs typeface="Arial"/>
              </a:rPr>
              <a:t>Size of project</a:t>
            </a:r>
            <a:endParaRPr lang="pl-PL">
              <a:solidFill>
                <a:schemeClr val="bg1">
                  <a:lumMod val="50000"/>
                </a:schemeClr>
              </a:solidFill>
              <a:latin typeface="Aptos"/>
              <a:cs typeface="Arial"/>
            </a:endParaRPr>
          </a:p>
          <a:p>
            <a:pPr>
              <a:lnSpc>
                <a:spcPct val="150000"/>
              </a:lnSpc>
            </a:pPr>
            <a:r>
              <a:rPr lang="pl-PL" dirty="0">
                <a:latin typeface="Aptos"/>
                <a:cs typeface="Arial"/>
              </a:rPr>
              <a:t>Liczba kondygnacji: </a:t>
            </a:r>
            <a:r>
              <a:rPr lang="pl-PL" dirty="0">
                <a:solidFill>
                  <a:srgbClr val="FF0000"/>
                </a:solidFill>
                <a:latin typeface="Aptos"/>
                <a:cs typeface="Arial"/>
              </a:rPr>
              <a:t>xxx</a:t>
            </a:r>
          </a:p>
          <a:p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ptos"/>
                <a:cs typeface="Arial"/>
              </a:rPr>
              <a:t>N</a:t>
            </a:r>
            <a:r>
              <a:rPr lang="pl-PL" baseline="30000" dirty="0">
                <a:solidFill>
                  <a:schemeClr val="bg1">
                    <a:lumMod val="50000"/>
                  </a:schemeClr>
                </a:solidFill>
                <a:latin typeface="Aptos"/>
                <a:cs typeface="Arial"/>
              </a:rPr>
              <a:t>o</a:t>
            </a: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ptos"/>
                <a:cs typeface="Arial"/>
              </a:rPr>
              <a:t> of </a:t>
            </a:r>
            <a:r>
              <a:rPr lang="pl-PL" dirty="0" err="1">
                <a:solidFill>
                  <a:schemeClr val="bg1">
                    <a:lumMod val="50000"/>
                  </a:schemeClr>
                </a:solidFill>
                <a:latin typeface="Aptos"/>
                <a:cs typeface="Arial"/>
              </a:rPr>
              <a:t>floors</a:t>
            </a:r>
            <a:endParaRPr lang="pl-PL" dirty="0">
              <a:solidFill>
                <a:schemeClr val="bg1">
                  <a:lumMod val="50000"/>
                </a:schemeClr>
              </a:solidFill>
              <a:latin typeface="Aptos"/>
              <a:cs typeface="Arial"/>
            </a:endParaRPr>
          </a:p>
        </p:txBody>
      </p:sp>
      <p:grpSp>
        <p:nvGrpSpPr>
          <p:cNvPr id="5" name="Grupa 4">
            <a:extLst>
              <a:ext uri="{FF2B5EF4-FFF2-40B4-BE49-F238E27FC236}">
                <a16:creationId xmlns:a16="http://schemas.microsoft.com/office/drawing/2014/main" id="{E9F13B07-5C67-4512-A30D-DB85D009ACF8}"/>
              </a:ext>
            </a:extLst>
          </p:cNvPr>
          <p:cNvGrpSpPr/>
          <p:nvPr/>
        </p:nvGrpSpPr>
        <p:grpSpPr>
          <a:xfrm>
            <a:off x="9835935" y="1615203"/>
            <a:ext cx="1924594" cy="1920770"/>
            <a:chOff x="4302034" y="4643411"/>
            <a:chExt cx="1924594" cy="1920770"/>
          </a:xfrm>
        </p:grpSpPr>
        <p:pic>
          <p:nvPicPr>
            <p:cNvPr id="23" name="Obraz 22" descr="Zasób 6.png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316184" y="4643411"/>
              <a:ext cx="1910444" cy="192077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24" name="Symbol zastępczy zawartości 33">
              <a:extLst>
                <a:ext uri="{FF2B5EF4-FFF2-40B4-BE49-F238E27FC236}">
                  <a16:creationId xmlns:a16="http://schemas.microsoft.com/office/drawing/2014/main" id="{CBBCC2DC-2621-432D-996C-C130D183622C}"/>
                </a:ext>
              </a:extLst>
            </p:cNvPr>
            <p:cNvSpPr txBox="1">
              <a:spLocks/>
            </p:cNvSpPr>
            <p:nvPr/>
          </p:nvSpPr>
          <p:spPr>
            <a:xfrm>
              <a:off x="4302034" y="4963887"/>
              <a:ext cx="1898469" cy="1277016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/>
            <a:p>
              <a:pPr marL="228594" marR="0" lvl="0" indent="-228594" algn="ctr" defTabSz="914377" rtl="0" eaLnBrk="1" fontAlgn="auto" latinLnBrk="0" hangingPunct="1">
                <a:spcBef>
                  <a:spcPts val="1000"/>
                </a:spcBef>
                <a:spcAft>
                  <a:spcPts val="0"/>
                </a:spcAft>
                <a:buClr>
                  <a:srgbClr val="535459"/>
                </a:buClr>
                <a:buSzTx/>
                <a:tabLst/>
                <a:defRPr/>
              </a:pPr>
              <a:r>
                <a:rPr kumimoji="0" lang="pl-PL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Gotham Book" pitchFamily="50" charset="0"/>
                  <a:cs typeface="Gotham Book" pitchFamily="50" charset="0"/>
                </a:rPr>
                <a:t>Wstaw</a:t>
              </a: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 wizualizację</a:t>
              </a:r>
              <a:br>
                <a:rPr lang="pl-PL" sz="1400" dirty="0">
                  <a:latin typeface="Gotham Book" pitchFamily="50" charset="0"/>
                  <a:cs typeface="Gotham Book" pitchFamily="50" charset="0"/>
                </a:rPr>
              </a:b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Twojej budowy</a:t>
              </a:r>
              <a:endPara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cs typeface="Gotham Book" pitchFamily="50" charset="0"/>
              </a:endParaRPr>
            </a:p>
          </p:txBody>
        </p: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stokąt 1">
            <a:extLst>
              <a:ext uri="{FF2B5EF4-FFF2-40B4-BE49-F238E27FC236}">
                <a16:creationId xmlns:a16="http://schemas.microsoft.com/office/drawing/2014/main" id="{82E404CB-4913-0C7F-12EC-D47A17CDA3FE}"/>
              </a:ext>
            </a:extLst>
          </p:cNvPr>
          <p:cNvSpPr/>
          <p:nvPr/>
        </p:nvSpPr>
        <p:spPr>
          <a:xfrm>
            <a:off x="3618016" y="669767"/>
            <a:ext cx="8573984" cy="56764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>
          <a:xfrm>
            <a:off x="8340783" y="143345"/>
            <a:ext cx="3850709" cy="736964"/>
          </a:xfrm>
        </p:spPr>
        <p:txBody>
          <a:bodyPr>
            <a:normAutofit/>
          </a:bodyPr>
          <a:lstStyle/>
          <a:p>
            <a:pPr lvl="0"/>
            <a:r>
              <a:rPr lang="pl-PL" sz="2200" b="1" dirty="0">
                <a:latin typeface="Aptos"/>
                <a:cs typeface="Arial"/>
              </a:rPr>
              <a:t>Nasze wartości | </a:t>
            </a:r>
            <a:r>
              <a:rPr lang="pl-PL" b="1" err="1">
                <a:solidFill>
                  <a:schemeClr val="bg1">
                    <a:lumMod val="50000"/>
                  </a:schemeClr>
                </a:solidFill>
                <a:latin typeface="Aptos"/>
                <a:cs typeface="Arial"/>
              </a:rPr>
              <a:t>Our</a:t>
            </a:r>
            <a:r>
              <a:rPr lang="pl-PL" b="1" dirty="0">
                <a:solidFill>
                  <a:schemeClr val="bg1">
                    <a:lumMod val="50000"/>
                  </a:schemeClr>
                </a:solidFill>
                <a:latin typeface="Aptos"/>
                <a:cs typeface="Arial"/>
              </a:rPr>
              <a:t> </a:t>
            </a:r>
            <a:r>
              <a:rPr lang="pl-PL" b="1" err="1">
                <a:solidFill>
                  <a:schemeClr val="bg1">
                    <a:lumMod val="50000"/>
                  </a:schemeClr>
                </a:solidFill>
                <a:latin typeface="Aptos"/>
                <a:cs typeface="Arial"/>
              </a:rPr>
              <a:t>values</a:t>
            </a:r>
            <a:endParaRPr lang="pl-PL" b="1">
              <a:solidFill>
                <a:schemeClr val="bg1">
                  <a:lumMod val="50000"/>
                </a:schemeClr>
              </a:solidFill>
              <a:latin typeface="Aptos"/>
              <a:cs typeface="Arial"/>
            </a:endParaRPr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C27E432A-F888-6A63-6592-2856FDFFA67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lum bright="40000" contrast="-20000"/>
          </a:blip>
          <a:srcRect l="19640" t="7823" r="26401" b="3172"/>
          <a:stretch/>
        </p:blipFill>
        <p:spPr>
          <a:xfrm>
            <a:off x="0" y="669767"/>
            <a:ext cx="3851219" cy="5684108"/>
          </a:xfrm>
          <a:prstGeom prst="rect">
            <a:avLst/>
          </a:prstGeom>
        </p:spPr>
      </p:pic>
      <p:sp>
        <p:nvSpPr>
          <p:cNvPr id="21" name="pole tekstowe 20"/>
          <p:cNvSpPr txBox="1"/>
          <p:nvPr/>
        </p:nvSpPr>
        <p:spPr>
          <a:xfrm>
            <a:off x="3851219" y="669767"/>
            <a:ext cx="8340781" cy="572464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l-PL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ptos"/>
                <a:ea typeface="+mj-ea"/>
                <a:cs typeface="Arial"/>
              </a:rPr>
              <a:t>#1</a:t>
            </a:r>
            <a:r>
              <a:rPr lang="pl-PL" b="1" dirty="0">
                <a:latin typeface="Aptos"/>
                <a:ea typeface="+mj-ea"/>
                <a:cs typeface="Arial"/>
              </a:rPr>
              <a:t>. </a:t>
            </a:r>
            <a:r>
              <a:rPr lang="pl-PL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ptos"/>
                <a:ea typeface="+mj-ea"/>
                <a:cs typeface="Arial"/>
              </a:rPr>
              <a:t>Zespół</a:t>
            </a:r>
          </a:p>
          <a:p>
            <a:r>
              <a:rPr lang="pl-PL" dirty="0">
                <a:latin typeface="Aptos"/>
                <a:ea typeface="+mj-ea"/>
                <a:cs typeface="Arial"/>
              </a:rPr>
              <a:t>Gramy razem na wspólny sukces. Wspólnie dążymy do stałej poprawy bezpieczeństwa na naszych projektach. </a:t>
            </a:r>
          </a:p>
          <a:p>
            <a:r>
              <a:rPr lang="pl-PL" dirty="0">
                <a:solidFill>
                  <a:schemeClr val="tx1">
                    <a:lumMod val="50000"/>
                    <a:lumOff val="50000"/>
                  </a:schemeClr>
                </a:solidFill>
                <a:latin typeface="Aptos"/>
                <a:ea typeface="+mj-ea"/>
                <a:cs typeface="Arial"/>
              </a:rPr>
              <a:t>Team.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Aptos"/>
                <a:ea typeface="+mj-ea"/>
                <a:cs typeface="Arial"/>
              </a:rPr>
              <a:t>We </a:t>
            </a:r>
            <a:r>
              <a:rPr lang="pl-PL" err="1">
                <a:solidFill>
                  <a:schemeClr val="tx1">
                    <a:lumMod val="50000"/>
                    <a:lumOff val="50000"/>
                  </a:schemeClr>
                </a:solidFill>
                <a:latin typeface="Aptos"/>
                <a:ea typeface="+mj-ea"/>
                <a:cs typeface="Arial"/>
              </a:rPr>
              <a:t>work</a:t>
            </a:r>
            <a:r>
              <a:rPr lang="pl-PL" dirty="0">
                <a:solidFill>
                  <a:schemeClr val="tx1">
                    <a:lumMod val="50000"/>
                    <a:lumOff val="50000"/>
                  </a:schemeClr>
                </a:solidFill>
                <a:latin typeface="Aptos"/>
                <a:ea typeface="+mj-ea"/>
                <a:cs typeface="Arial"/>
              </a:rPr>
              <a:t> and </a:t>
            </a:r>
            <a:r>
              <a:rPr lang="pl-PL" err="1">
                <a:solidFill>
                  <a:schemeClr val="tx1">
                    <a:lumMod val="50000"/>
                    <a:lumOff val="50000"/>
                  </a:schemeClr>
                </a:solidFill>
                <a:latin typeface="Aptos"/>
                <a:ea typeface="+mj-ea"/>
                <a:cs typeface="Arial"/>
              </a:rPr>
              <a:t>cooperate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Aptos"/>
                <a:ea typeface="+mj-ea"/>
                <a:cs typeface="Arial"/>
              </a:rPr>
              <a:t> together for common success. Together, we strive to constantly improve safety on our projects.</a:t>
            </a:r>
          </a:p>
          <a:p>
            <a:endParaRPr lang="pl-PL" sz="2000" dirty="0">
              <a:latin typeface="Aptos"/>
              <a:ea typeface="+mj-ea"/>
              <a:cs typeface="Arial" panose="020B0604020202020204" pitchFamily="34" charset="0"/>
            </a:endParaRPr>
          </a:p>
          <a:p>
            <a:r>
              <a:rPr lang="pl-PL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ptos"/>
                <a:ea typeface="+mj-ea"/>
                <a:cs typeface="Arial"/>
              </a:rPr>
              <a:t>#2</a:t>
            </a:r>
            <a:r>
              <a:rPr lang="pl-PL" b="1" dirty="0">
                <a:latin typeface="Aptos"/>
                <a:ea typeface="+mj-ea"/>
                <a:cs typeface="Arial"/>
              </a:rPr>
              <a:t>. </a:t>
            </a:r>
            <a:r>
              <a:rPr lang="pl-PL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ptos"/>
                <a:ea typeface="+mj-ea"/>
                <a:cs typeface="Arial"/>
              </a:rPr>
              <a:t>Zaufanie</a:t>
            </a:r>
          </a:p>
          <a:p>
            <a:r>
              <a:rPr lang="pl-PL" dirty="0">
                <a:latin typeface="Aptos"/>
                <a:ea typeface="+mj-ea"/>
                <a:cs typeface="Arial"/>
              </a:rPr>
              <a:t>Ufamy sobie, bo mamy dobre intencje. Budujemy partnerskie relacje.</a:t>
            </a:r>
          </a:p>
          <a:p>
            <a:r>
              <a:rPr lang="pl-PL" dirty="0">
                <a:solidFill>
                  <a:schemeClr val="tx1">
                    <a:lumMod val="50000"/>
                    <a:lumOff val="50000"/>
                  </a:schemeClr>
                </a:solidFill>
                <a:latin typeface="Aptos"/>
                <a:ea typeface="+mj-ea"/>
                <a:cs typeface="Arial"/>
              </a:rPr>
              <a:t>Trust.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Aptos"/>
                <a:ea typeface="+mj-ea"/>
                <a:cs typeface="Arial"/>
              </a:rPr>
              <a:t>We trust each other because we have good intentions. We build partnership</a:t>
            </a:r>
            <a:r>
              <a:rPr lang="pl-PL" dirty="0">
                <a:solidFill>
                  <a:schemeClr val="tx1">
                    <a:lumMod val="50000"/>
                    <a:lumOff val="50000"/>
                  </a:schemeClr>
                </a:solidFill>
                <a:latin typeface="Aptos"/>
                <a:ea typeface="+mj-ea"/>
                <a:cs typeface="Arial"/>
              </a:rPr>
              <a:t> relations.</a:t>
            </a:r>
            <a:endParaRPr lang="en-US">
              <a:solidFill>
                <a:schemeClr val="tx1">
                  <a:lumMod val="50000"/>
                  <a:lumOff val="50000"/>
                </a:schemeClr>
              </a:solidFill>
              <a:latin typeface="Aptos"/>
              <a:ea typeface="+mj-ea"/>
              <a:cs typeface="Arial"/>
            </a:endParaRPr>
          </a:p>
          <a:p>
            <a:endParaRPr lang="en-US" sz="2000" dirty="0">
              <a:latin typeface="Aptos"/>
              <a:ea typeface="+mj-ea"/>
              <a:cs typeface="Arial" panose="020B0604020202020204" pitchFamily="34" charset="0"/>
            </a:endParaRPr>
          </a:p>
          <a:p>
            <a:r>
              <a:rPr lang="pl-PL" b="1" dirty="0">
                <a:latin typeface="Aptos"/>
                <a:ea typeface="+mj-ea"/>
                <a:cs typeface="Arial"/>
              </a:rPr>
              <a:t>#3. </a:t>
            </a:r>
            <a:r>
              <a:rPr lang="pl-PL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ptos"/>
                <a:ea typeface="+mj-ea"/>
                <a:cs typeface="Arial"/>
              </a:rPr>
              <a:t>Odpowiedzialność</a:t>
            </a:r>
          </a:p>
          <a:p>
            <a:r>
              <a:rPr lang="pl-PL" dirty="0">
                <a:latin typeface="Aptos"/>
                <a:ea typeface="+mj-ea"/>
                <a:cs typeface="Arial"/>
              </a:rPr>
              <a:t>Wszystko zaczyna się od każdego z nas – budowanie bezpieczeństwa również!</a:t>
            </a:r>
          </a:p>
          <a:p>
            <a:r>
              <a:rPr lang="pl-PL" sz="1800" err="1">
                <a:solidFill>
                  <a:schemeClr val="bg1">
                    <a:lumMod val="65000"/>
                  </a:schemeClr>
                </a:solidFill>
                <a:latin typeface="Aptos"/>
                <a:ea typeface="+mj-ea"/>
                <a:cs typeface="Arial"/>
              </a:rPr>
              <a:t>Responsibility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ptos"/>
                <a:ea typeface="+mj-ea"/>
                <a:cs typeface="Arial"/>
              </a:rPr>
              <a:t>. </a:t>
            </a:r>
            <a:r>
              <a:rPr lang="en-US" sz="1800" dirty="0">
                <a:solidFill>
                  <a:schemeClr val="bg1">
                    <a:lumMod val="65000"/>
                  </a:schemeClr>
                </a:solidFill>
                <a:latin typeface="Aptos"/>
                <a:ea typeface="+mj-ea"/>
                <a:cs typeface="Arial"/>
              </a:rPr>
              <a:t>It all starts with each of us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ptos"/>
                <a:ea typeface="+mj-ea"/>
                <a:cs typeface="Arial"/>
              </a:rPr>
              <a:t> – </a:t>
            </a:r>
            <a:r>
              <a:rPr lang="pl-PL" sz="1800" err="1">
                <a:solidFill>
                  <a:schemeClr val="bg1">
                    <a:lumMod val="65000"/>
                  </a:schemeClr>
                </a:solidFill>
                <a:latin typeface="Aptos"/>
                <a:ea typeface="+mj-ea"/>
                <a:cs typeface="Arial"/>
              </a:rPr>
              <a:t>safety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ptos"/>
                <a:ea typeface="+mj-ea"/>
                <a:cs typeface="Arial"/>
              </a:rPr>
              <a:t> as </a:t>
            </a:r>
            <a:r>
              <a:rPr lang="pl-PL" sz="1800" err="1">
                <a:solidFill>
                  <a:schemeClr val="bg1">
                    <a:lumMod val="65000"/>
                  </a:schemeClr>
                </a:solidFill>
                <a:latin typeface="Aptos"/>
                <a:ea typeface="+mj-ea"/>
                <a:cs typeface="Arial"/>
              </a:rPr>
              <a:t>well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ptos"/>
                <a:ea typeface="+mj-ea"/>
                <a:cs typeface="Arial"/>
              </a:rPr>
              <a:t>!</a:t>
            </a:r>
          </a:p>
          <a:p>
            <a:endParaRPr lang="pl-PL" dirty="0">
              <a:solidFill>
                <a:schemeClr val="bg1">
                  <a:lumMod val="65000"/>
                </a:schemeClr>
              </a:solidFill>
              <a:latin typeface="Aptos"/>
              <a:ea typeface="+mj-ea"/>
              <a:cs typeface="Arial" panose="020B0604020202020204" pitchFamily="34" charset="0"/>
            </a:endParaRPr>
          </a:p>
          <a:p>
            <a:r>
              <a:rPr lang="pl-PL" b="1" dirty="0">
                <a:latin typeface="Aptos"/>
                <a:ea typeface="+mj-ea"/>
                <a:cs typeface="Arial"/>
              </a:rPr>
              <a:t>#4. </a:t>
            </a:r>
            <a:r>
              <a:rPr lang="pl-PL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ptos"/>
                <a:ea typeface="+mj-ea"/>
                <a:cs typeface="Arial"/>
              </a:rPr>
              <a:t>Rozwój</a:t>
            </a:r>
          </a:p>
          <a:p>
            <a:r>
              <a:rPr lang="pl-PL" dirty="0">
                <a:latin typeface="Aptos"/>
                <a:ea typeface="+mj-ea"/>
                <a:cs typeface="Arial"/>
              </a:rPr>
              <a:t>Jesteśmy lepsi każdego dnia.</a:t>
            </a:r>
          </a:p>
          <a:p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ptos"/>
                <a:ea typeface="+mj-ea"/>
                <a:cs typeface="Arial"/>
              </a:rPr>
              <a:t>Development. We </a:t>
            </a:r>
            <a:r>
              <a:rPr lang="pl-PL" sz="1800" err="1">
                <a:solidFill>
                  <a:schemeClr val="bg1">
                    <a:lumMod val="65000"/>
                  </a:schemeClr>
                </a:solidFill>
                <a:latin typeface="Aptos"/>
                <a:ea typeface="+mj-ea"/>
                <a:cs typeface="Arial"/>
              </a:rPr>
              <a:t>are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ptos"/>
                <a:ea typeface="+mj-ea"/>
                <a:cs typeface="Arial"/>
              </a:rPr>
              <a:t> </a:t>
            </a:r>
            <a:r>
              <a:rPr lang="pl-PL" sz="1800" err="1">
                <a:solidFill>
                  <a:schemeClr val="bg1">
                    <a:lumMod val="65000"/>
                  </a:schemeClr>
                </a:solidFill>
                <a:latin typeface="Aptos"/>
                <a:ea typeface="+mj-ea"/>
                <a:cs typeface="Arial"/>
              </a:rPr>
              <a:t>better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ptos"/>
                <a:ea typeface="+mj-ea"/>
                <a:cs typeface="Arial"/>
              </a:rPr>
              <a:t> </a:t>
            </a:r>
            <a:r>
              <a:rPr lang="pl-PL" sz="1800" err="1">
                <a:solidFill>
                  <a:schemeClr val="bg1">
                    <a:lumMod val="65000"/>
                  </a:schemeClr>
                </a:solidFill>
                <a:latin typeface="Aptos"/>
                <a:ea typeface="+mj-ea"/>
                <a:cs typeface="Arial"/>
              </a:rPr>
              <a:t>every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ptos"/>
                <a:ea typeface="+mj-ea"/>
                <a:cs typeface="Arial"/>
              </a:rPr>
              <a:t> </a:t>
            </a:r>
            <a:r>
              <a:rPr lang="pl-PL" sz="1800" err="1">
                <a:solidFill>
                  <a:schemeClr val="bg1">
                    <a:lumMod val="65000"/>
                  </a:schemeClr>
                </a:solidFill>
                <a:latin typeface="Aptos"/>
                <a:ea typeface="+mj-ea"/>
                <a:cs typeface="Arial"/>
              </a:rPr>
              <a:t>day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ptos"/>
                <a:ea typeface="+mj-ea"/>
                <a:cs typeface="Arial"/>
              </a:rPr>
              <a:t>.</a:t>
            </a:r>
          </a:p>
          <a:p>
            <a:endParaRPr lang="pl-PL" sz="1800" dirty="0">
              <a:solidFill>
                <a:schemeClr val="bg1">
                  <a:lumMod val="65000"/>
                </a:schemeClr>
              </a:solidFill>
              <a:latin typeface="Aptos"/>
              <a:ea typeface="+mj-ea"/>
              <a:cs typeface="Arial" panose="020B0604020202020204" pitchFamily="34" charset="0"/>
            </a:endParaRPr>
          </a:p>
          <a:p>
            <a:endParaRPr lang="pl-PL" sz="2000" dirty="0">
              <a:latin typeface="Aptos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97622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ytuł 3"/>
          <p:cNvSpPr>
            <a:spLocks noGrp="1"/>
          </p:cNvSpPr>
          <p:nvPr>
            <p:ph type="title"/>
          </p:nvPr>
        </p:nvSpPr>
        <p:spPr>
          <a:xfrm>
            <a:off x="860467" y="728253"/>
            <a:ext cx="11658599" cy="736964"/>
          </a:xfrm>
        </p:spPr>
        <p:txBody>
          <a:bodyPr>
            <a:normAutofit fontScale="90000"/>
          </a:bodyPr>
          <a:lstStyle/>
          <a:p>
            <a:pPr lvl="0"/>
            <a:r>
              <a:rPr lang="pl-PL" sz="2400" dirty="0">
                <a:latin typeface="Arial" panose="020B0604020202020204" pitchFamily="34" charset="0"/>
                <a:cs typeface="Arial" panose="020B0604020202020204" pitchFamily="34" charset="0"/>
              </a:rPr>
              <a:t>Zespół projektowy</a:t>
            </a:r>
            <a:b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 team</a:t>
            </a:r>
          </a:p>
        </p:txBody>
      </p:sp>
      <p:grpSp>
        <p:nvGrpSpPr>
          <p:cNvPr id="6" name="Grupa 5">
            <a:extLst>
              <a:ext uri="{FF2B5EF4-FFF2-40B4-BE49-F238E27FC236}">
                <a16:creationId xmlns:a16="http://schemas.microsoft.com/office/drawing/2014/main" id="{A969A0E4-53F5-94F1-C0B8-503AD2231A1E}"/>
              </a:ext>
            </a:extLst>
          </p:cNvPr>
          <p:cNvGrpSpPr/>
          <p:nvPr/>
        </p:nvGrpSpPr>
        <p:grpSpPr>
          <a:xfrm>
            <a:off x="8752641" y="974088"/>
            <a:ext cx="2404762" cy="2118866"/>
            <a:chOff x="807713" y="2552721"/>
            <a:chExt cx="2404762" cy="2118866"/>
          </a:xfrm>
        </p:grpSpPr>
        <p:pic>
          <p:nvPicPr>
            <p:cNvPr id="7" name="Obraz 6" descr="Zasób 6.png">
              <a:extLst>
                <a:ext uri="{FF2B5EF4-FFF2-40B4-BE49-F238E27FC236}">
                  <a16:creationId xmlns:a16="http://schemas.microsoft.com/office/drawing/2014/main" id="{32477C02-0DC7-5F7B-BC88-1A6D99E7CD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43430" y="2552721"/>
              <a:ext cx="2107475" cy="2118866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8" name="Symbol zastępczy zawartości 33">
              <a:extLst>
                <a:ext uri="{FF2B5EF4-FFF2-40B4-BE49-F238E27FC236}">
                  <a16:creationId xmlns:a16="http://schemas.microsoft.com/office/drawing/2014/main" id="{549EB90A-3118-DD3D-ECE4-946CFEFEFF67}"/>
                </a:ext>
              </a:extLst>
            </p:cNvPr>
            <p:cNvSpPr txBox="1">
              <a:spLocks/>
            </p:cNvSpPr>
            <p:nvPr/>
          </p:nvSpPr>
          <p:spPr>
            <a:xfrm>
              <a:off x="807713" y="3043850"/>
              <a:ext cx="2404762" cy="1277016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/>
            <a:p>
              <a:pPr marR="0" lvl="0" algn="ctr" defTabSz="914377" rtl="0" eaLnBrk="1" fontAlgn="auto" latinLnBrk="0" hangingPunct="1">
                <a:spcBef>
                  <a:spcPts val="1000"/>
                </a:spcBef>
                <a:spcAft>
                  <a:spcPts val="0"/>
                </a:spcAft>
                <a:buClr>
                  <a:srgbClr val="535459"/>
                </a:buClr>
                <a:buSzTx/>
                <a:tabLst/>
                <a:defRPr/>
              </a:pPr>
              <a:r>
                <a:rPr kumimoji="0" lang="pl-PL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Wstaw</a:t>
              </a:r>
              <a:r>
                <a:rPr lang="pl-PL" sz="1600" dirty="0">
                  <a:latin typeface="Arial" pitchFamily="34" charset="0"/>
                  <a:cs typeface="Arial" pitchFamily="34" charset="0"/>
                </a:rPr>
                <a:t> </a:t>
              </a:r>
              <a:r>
                <a:rPr lang="pl-PL" sz="1600" dirty="0" err="1">
                  <a:latin typeface="Arial" pitchFamily="34" charset="0"/>
                  <a:cs typeface="Arial" pitchFamily="34" charset="0"/>
                </a:rPr>
                <a:t>organigram</a:t>
              </a:r>
              <a:r>
                <a:rPr lang="pl-PL" sz="1600" dirty="0">
                  <a:latin typeface="Arial" pitchFamily="34" charset="0"/>
                  <a:cs typeface="Arial" pitchFamily="34" charset="0"/>
                </a:rPr>
                <a:t> budowy oraz zdjęcia osób z projektu</a:t>
              </a:r>
              <a:endPara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</p:grp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A1C6D31C-BE73-D746-CE24-EDF2DDF0737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2616414"/>
              </p:ext>
            </p:extLst>
          </p:nvPr>
        </p:nvGraphicFramePr>
        <p:xfrm>
          <a:off x="1793174" y="543328"/>
          <a:ext cx="8161848" cy="51093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3" name="Obraz 2">
            <a:extLst>
              <a:ext uri="{FF2B5EF4-FFF2-40B4-BE49-F238E27FC236}">
                <a16:creationId xmlns:a16="http://schemas.microsoft.com/office/drawing/2014/main" id="{26877B48-F9FF-7AF2-C452-6A6527C6E06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99603" y="1366761"/>
            <a:ext cx="736964" cy="736964"/>
          </a:xfrm>
          <a:prstGeom prst="rect">
            <a:avLst/>
          </a:prstGeom>
        </p:spPr>
      </p:pic>
      <p:pic>
        <p:nvPicPr>
          <p:cNvPr id="10" name="Obraz 9">
            <a:extLst>
              <a:ext uri="{FF2B5EF4-FFF2-40B4-BE49-F238E27FC236}">
                <a16:creationId xmlns:a16="http://schemas.microsoft.com/office/drawing/2014/main" id="{EF96ED67-02D7-61EC-D4CA-AEFA15885A6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11830" y="2373750"/>
            <a:ext cx="740255" cy="736965"/>
          </a:xfrm>
          <a:prstGeom prst="rect">
            <a:avLst/>
          </a:prstGeom>
        </p:spPr>
      </p:pic>
      <p:pic>
        <p:nvPicPr>
          <p:cNvPr id="14" name="Obraz 13">
            <a:extLst>
              <a:ext uri="{FF2B5EF4-FFF2-40B4-BE49-F238E27FC236}">
                <a16:creationId xmlns:a16="http://schemas.microsoft.com/office/drawing/2014/main" id="{497552C2-A158-1104-4CC7-9D421F003A5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32827" y="2378773"/>
            <a:ext cx="740255" cy="737008"/>
          </a:xfrm>
          <a:prstGeom prst="rect">
            <a:avLst/>
          </a:prstGeom>
        </p:spPr>
      </p:pic>
      <p:pic>
        <p:nvPicPr>
          <p:cNvPr id="16" name="Obraz 15">
            <a:extLst>
              <a:ext uri="{FF2B5EF4-FFF2-40B4-BE49-F238E27FC236}">
                <a16:creationId xmlns:a16="http://schemas.microsoft.com/office/drawing/2014/main" id="{88334AA7-1C86-D2FC-C588-257CB3715D3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749310" y="4866920"/>
            <a:ext cx="853644" cy="853644"/>
          </a:xfrm>
          <a:prstGeom prst="rect">
            <a:avLst/>
          </a:prstGeom>
        </p:spPr>
      </p:pic>
      <p:pic>
        <p:nvPicPr>
          <p:cNvPr id="17" name="Obraz 16">
            <a:extLst>
              <a:ext uri="{FF2B5EF4-FFF2-40B4-BE49-F238E27FC236}">
                <a16:creationId xmlns:a16="http://schemas.microsoft.com/office/drawing/2014/main" id="{12D14B3B-EC21-5C8E-A089-414DAD2AFAA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836567" y="4866920"/>
            <a:ext cx="853644" cy="853644"/>
          </a:xfrm>
          <a:prstGeom prst="rect">
            <a:avLst/>
          </a:prstGeom>
        </p:spPr>
      </p:pic>
      <p:pic>
        <p:nvPicPr>
          <p:cNvPr id="18" name="Obraz 17">
            <a:extLst>
              <a:ext uri="{FF2B5EF4-FFF2-40B4-BE49-F238E27FC236}">
                <a16:creationId xmlns:a16="http://schemas.microsoft.com/office/drawing/2014/main" id="{B1119893-8CBA-0CD8-707E-4DEBAB54068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975249" y="4866920"/>
            <a:ext cx="853644" cy="853644"/>
          </a:xfrm>
          <a:prstGeom prst="rect">
            <a:avLst/>
          </a:prstGeom>
        </p:spPr>
      </p:pic>
      <p:pic>
        <p:nvPicPr>
          <p:cNvPr id="19" name="Obraz 18">
            <a:extLst>
              <a:ext uri="{FF2B5EF4-FFF2-40B4-BE49-F238E27FC236}">
                <a16:creationId xmlns:a16="http://schemas.microsoft.com/office/drawing/2014/main" id="{7A653248-0937-0D42-54D6-2D101FF58B5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079314" y="4866920"/>
            <a:ext cx="853644" cy="853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9312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ymbol zastępczy zawartości 33">
            <a:extLst>
              <a:ext uri="{FF2B5EF4-FFF2-40B4-BE49-F238E27FC236}">
                <a16:creationId xmlns:a16="http://schemas.microsoft.com/office/drawing/2014/main" id="{51C879A3-02D2-4609-AD7E-64B746A01749}"/>
              </a:ext>
            </a:extLst>
          </p:cNvPr>
          <p:cNvSpPr txBox="1">
            <a:spLocks/>
          </p:cNvSpPr>
          <p:nvPr/>
        </p:nvSpPr>
        <p:spPr>
          <a:xfrm>
            <a:off x="266700" y="2035656"/>
            <a:ext cx="5697320" cy="3955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l-PL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  <a:sym typeface="Arial"/>
              </a:rPr>
              <a:t>W przypadku ogłoszenia alarmu </a:t>
            </a:r>
          </a:p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l-PL" sz="160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ptos"/>
                <a:cs typeface="Arial" panose="020B0604020202020204" pitchFamily="34" charset="0"/>
                <a:sym typeface="Arial"/>
              </a:rPr>
              <a:t>In </a:t>
            </a:r>
            <a:r>
              <a:rPr kumimoji="0" lang="pl-PL" sz="1600" u="none" strike="noStrike" kern="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ptos"/>
                <a:cs typeface="Arial" panose="020B0604020202020204" pitchFamily="34" charset="0"/>
                <a:sym typeface="Arial"/>
              </a:rPr>
              <a:t>case</a:t>
            </a:r>
            <a:r>
              <a:rPr kumimoji="0" lang="pl-PL" sz="160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ptos"/>
                <a:cs typeface="Arial" panose="020B0604020202020204" pitchFamily="34" charset="0"/>
                <a:sym typeface="Arial"/>
              </a:rPr>
              <a:t> of the alarm</a:t>
            </a:r>
            <a:r>
              <a:rPr kumimoji="0" lang="pl-PL" sz="16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ptos"/>
                <a:cs typeface="Gotham Book" pitchFamily="50" charset="0"/>
                <a:sym typeface="Arial"/>
              </a:rPr>
              <a:t>:</a:t>
            </a:r>
          </a:p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l-PL" sz="16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ptos"/>
              <a:cs typeface="Gotham Book" pitchFamily="50" charset="0"/>
              <a:sym typeface="Arial"/>
            </a:endParaRPr>
          </a:p>
        </p:txBody>
      </p:sp>
      <p:sp>
        <p:nvSpPr>
          <p:cNvPr id="48" name="Tytuł 4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l-PL" sz="2200" dirty="0">
                <a:latin typeface="Aptos"/>
                <a:cs typeface="Arial" panose="020B0604020202020204" pitchFamily="34" charset="0"/>
              </a:rPr>
              <a:t>Ewakuacja</a:t>
            </a:r>
            <a:br>
              <a:rPr lang="pl-PL" dirty="0">
                <a:latin typeface="Aptos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Evacuation</a:t>
            </a:r>
          </a:p>
        </p:txBody>
      </p:sp>
      <p:grpSp>
        <p:nvGrpSpPr>
          <p:cNvPr id="15" name="Grupa 14">
            <a:extLst>
              <a:ext uri="{FF2B5EF4-FFF2-40B4-BE49-F238E27FC236}">
                <a16:creationId xmlns:a16="http://schemas.microsoft.com/office/drawing/2014/main" id="{18696C88-FAF3-4882-8C8B-3BEB60073EB4}"/>
              </a:ext>
            </a:extLst>
          </p:cNvPr>
          <p:cNvGrpSpPr/>
          <p:nvPr/>
        </p:nvGrpSpPr>
        <p:grpSpPr>
          <a:xfrm>
            <a:off x="259645" y="2093214"/>
            <a:ext cx="11672710" cy="3092778"/>
            <a:chOff x="259645" y="2093214"/>
            <a:chExt cx="11672710" cy="3092778"/>
          </a:xfrm>
        </p:grpSpPr>
        <p:pic>
          <p:nvPicPr>
            <p:cNvPr id="7" name="Obraz 6" descr="punkt.png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224388" y="2093214"/>
              <a:ext cx="1707967" cy="2552463"/>
            </a:xfrm>
            <a:prstGeom prst="rect">
              <a:avLst/>
            </a:prstGeom>
          </p:spPr>
        </p:pic>
        <p:sp>
          <p:nvSpPr>
            <p:cNvPr id="14" name="Symbol zastępczy zawartości 33">
              <a:extLst>
                <a:ext uri="{FF2B5EF4-FFF2-40B4-BE49-F238E27FC236}">
                  <a16:creationId xmlns:a16="http://schemas.microsoft.com/office/drawing/2014/main" id="{A21A3011-F920-4792-A48C-744E9E50BE63}"/>
                </a:ext>
              </a:extLst>
            </p:cNvPr>
            <p:cNvSpPr txBox="1">
              <a:spLocks/>
            </p:cNvSpPr>
            <p:nvPr/>
          </p:nvSpPr>
          <p:spPr>
            <a:xfrm>
              <a:off x="259645" y="4130333"/>
              <a:ext cx="5697320" cy="1055659"/>
            </a:xfrm>
            <a:prstGeom prst="rect">
              <a:avLst/>
            </a:prstGeom>
          </p:spPr>
          <p:txBody>
            <a:bodyPr>
              <a:noAutofit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>
                  <a:srgbClr val="535459"/>
                </a:buClr>
                <a:buSzTx/>
                <a:tabLst/>
                <a:defRPr/>
              </a:pPr>
              <a:endParaRPr kumimoji="0" lang="pl-PL" sz="16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>
                  <a:srgbClr val="535459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pl-PL" sz="160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Alarm ogłaszany jest za pomocą </a:t>
              </a:r>
              <a:r>
                <a:rPr kumimoji="0" lang="pl-PL" sz="16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megafonu</a:t>
              </a:r>
              <a:r>
                <a:rPr kumimoji="0" lang="pl-PL" sz="1600" i="0" u="none" strike="noStrike" kern="0" cap="none" spc="0" normalizeH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br>
                <a:rPr kumimoji="0" lang="pl-PL" sz="1600" i="0" u="none" strike="noStrike" kern="0" cap="none" spc="0" normalizeH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</a:br>
              <a:r>
                <a:rPr kumimoji="0" lang="pl-PL" sz="1600" i="0" u="none" strike="noStrike" kern="0" cap="none" spc="0" normalizeH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 </a:t>
              </a:r>
              <a:r>
                <a:rPr kumimoji="0" lang="pl-PL" sz="1600" u="none" strike="noStrike" kern="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The</a:t>
              </a:r>
              <a:r>
                <a:rPr kumimoji="0" lang="pl-PL" sz="1600" u="none" strike="noStrike" kern="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alarm </a:t>
              </a:r>
              <a:r>
                <a:rPr kumimoji="0" lang="pl-PL" sz="1600" u="none" strike="noStrike" kern="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is</a:t>
              </a:r>
              <a:r>
                <a:rPr kumimoji="0" lang="pl-PL" sz="1600" u="none" strike="noStrike" kern="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kumimoji="0" lang="pl-PL" sz="1600" u="none" strike="noStrike" kern="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announced</a:t>
              </a:r>
              <a:r>
                <a:rPr kumimoji="0" lang="pl-PL" sz="1600" u="none" strike="noStrike" kern="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by </a:t>
              </a:r>
              <a:r>
                <a:rPr kumimoji="0" lang="pl-PL" sz="1600" u="none" strike="noStrike" kern="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the</a:t>
              </a:r>
              <a:r>
                <a:rPr kumimoji="0" lang="pl-PL" sz="1600" u="none" strike="noStrike" kern="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kumimoji="0" lang="pl-PL" sz="1600" u="none" strike="noStrike" kern="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megaphone</a:t>
              </a:r>
              <a:endParaRPr kumimoji="0" lang="pl-PL" sz="160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</p:grpSp>
      <p:grpSp>
        <p:nvGrpSpPr>
          <p:cNvPr id="4" name="Grupa 3">
            <a:extLst>
              <a:ext uri="{FF2B5EF4-FFF2-40B4-BE49-F238E27FC236}">
                <a16:creationId xmlns:a16="http://schemas.microsoft.com/office/drawing/2014/main" id="{5F9EA396-09C1-4069-A252-87E1E8778315}"/>
              </a:ext>
            </a:extLst>
          </p:cNvPr>
          <p:cNvGrpSpPr/>
          <p:nvPr/>
        </p:nvGrpSpPr>
        <p:grpSpPr>
          <a:xfrm>
            <a:off x="266700" y="2045815"/>
            <a:ext cx="7611495" cy="2552464"/>
            <a:chOff x="266700" y="2045815"/>
            <a:chExt cx="7611495" cy="2552464"/>
          </a:xfrm>
        </p:grpSpPr>
        <p:pic>
          <p:nvPicPr>
            <p:cNvPr id="6" name="Obraz 5" descr="punkt.png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170228" y="2045815"/>
              <a:ext cx="1707967" cy="2552464"/>
            </a:xfrm>
            <a:prstGeom prst="rect">
              <a:avLst/>
            </a:prstGeom>
          </p:spPr>
        </p:pic>
        <p:sp>
          <p:nvSpPr>
            <p:cNvPr id="2" name="Prostokąt 1">
              <a:extLst>
                <a:ext uri="{FF2B5EF4-FFF2-40B4-BE49-F238E27FC236}">
                  <a16:creationId xmlns:a16="http://schemas.microsoft.com/office/drawing/2014/main" id="{F2ACA7D5-933A-43A4-94CD-A9C5BE64017A}"/>
                </a:ext>
              </a:extLst>
            </p:cNvPr>
            <p:cNvSpPr/>
            <p:nvPr/>
          </p:nvSpPr>
          <p:spPr>
            <a:xfrm>
              <a:off x="266700" y="2621664"/>
              <a:ext cx="6096000" cy="58477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lvl="0">
                <a:buClr>
                  <a:srgbClr val="535459"/>
                </a:buClr>
                <a:buFont typeface="Wingdings" pitchFamily="2" charset="2"/>
                <a:buChar char="§"/>
                <a:defRPr/>
              </a:pPr>
              <a:r>
                <a:rPr lang="pl-PL" sz="1600" kern="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Proszę udaj się do wyznaczonego </a:t>
              </a:r>
              <a:r>
                <a:rPr lang="pl-PL" sz="1600" b="1" kern="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Punktu zbiórki</a:t>
              </a:r>
              <a:br>
                <a:rPr lang="pl-PL" sz="1600" b="1" kern="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</a:br>
              <a:r>
                <a:rPr lang="pl-PL" sz="1600" b="1" kern="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 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Go to the </a:t>
              </a:r>
              <a:r>
                <a:rPr lang="pl-PL" sz="1600" kern="0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assembly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point</a:t>
              </a:r>
            </a:p>
          </p:txBody>
        </p:sp>
      </p:grpSp>
      <p:grpSp>
        <p:nvGrpSpPr>
          <p:cNvPr id="5" name="Grupa 4">
            <a:extLst>
              <a:ext uri="{FF2B5EF4-FFF2-40B4-BE49-F238E27FC236}">
                <a16:creationId xmlns:a16="http://schemas.microsoft.com/office/drawing/2014/main" id="{105BE84E-D5B4-435D-BF6F-59DEBE630410}"/>
              </a:ext>
            </a:extLst>
          </p:cNvPr>
          <p:cNvGrpSpPr/>
          <p:nvPr/>
        </p:nvGrpSpPr>
        <p:grpSpPr>
          <a:xfrm>
            <a:off x="266700" y="2035655"/>
            <a:ext cx="9603486" cy="2552464"/>
            <a:chOff x="266700" y="2035655"/>
            <a:chExt cx="9603486" cy="2552464"/>
          </a:xfrm>
        </p:grpSpPr>
        <p:pic>
          <p:nvPicPr>
            <p:cNvPr id="45" name="Obraz 44" descr="punkt.png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158168" y="2035655"/>
              <a:ext cx="1712018" cy="2552464"/>
            </a:xfrm>
            <a:prstGeom prst="rect">
              <a:avLst/>
            </a:prstGeom>
          </p:spPr>
        </p:pic>
        <p:sp>
          <p:nvSpPr>
            <p:cNvPr id="3" name="Prostokąt 2">
              <a:extLst>
                <a:ext uri="{FF2B5EF4-FFF2-40B4-BE49-F238E27FC236}">
                  <a16:creationId xmlns:a16="http://schemas.microsoft.com/office/drawing/2014/main" id="{6DBBFC0F-DC16-4F07-BEDE-2B45AC83FCA0}"/>
                </a:ext>
              </a:extLst>
            </p:cNvPr>
            <p:cNvSpPr/>
            <p:nvPr/>
          </p:nvSpPr>
          <p:spPr>
            <a:xfrm>
              <a:off x="266700" y="3206439"/>
              <a:ext cx="6096000" cy="861774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lvl="0">
                <a:buClr>
                  <a:srgbClr val="535459"/>
                </a:buClr>
                <a:buFont typeface="Wingdings" pitchFamily="2" charset="2"/>
                <a:buChar char="§"/>
                <a:defRPr/>
              </a:pPr>
              <a:endParaRPr lang="pl-PL" kern="0" dirty="0">
                <a:latin typeface="Aptos"/>
                <a:cs typeface="Gotham Light" pitchFamily="50" charset="0"/>
                <a:sym typeface="Arial"/>
              </a:endParaRPr>
            </a:p>
            <a:p>
              <a:pPr lvl="0">
                <a:buClr>
                  <a:srgbClr val="535459"/>
                </a:buClr>
                <a:buFont typeface="Wingdings" pitchFamily="2" charset="2"/>
                <a:buChar char="§"/>
                <a:defRPr/>
              </a:pPr>
              <a:r>
                <a:rPr lang="pl-PL" sz="1600" kern="0" dirty="0">
                  <a:latin typeface="Aptos"/>
                  <a:cs typeface="Arial" panose="020B0604020202020204" pitchFamily="34" charset="0"/>
                  <a:sym typeface="Arial"/>
                </a:rPr>
                <a:t> Pozostań tam do momentu wyłączenia alarmu </a:t>
              </a:r>
              <a:br>
                <a:rPr lang="pl-PL" sz="1600" kern="0" dirty="0">
                  <a:latin typeface="Aptos"/>
                  <a:cs typeface="Arial" panose="020B0604020202020204" pitchFamily="34" charset="0"/>
                  <a:sym typeface="Arial"/>
                </a:rPr>
              </a:br>
              <a:r>
                <a:rPr lang="pl-PL" sz="1600" kern="0" dirty="0">
                  <a:latin typeface="Aptos"/>
                  <a:cs typeface="Arial" panose="020B0604020202020204" pitchFamily="34" charset="0"/>
                  <a:sym typeface="Arial"/>
                </a:rPr>
                <a:t>  </a:t>
              </a:r>
              <a:r>
                <a:rPr lang="pl-PL" sz="1600" kern="0" dirty="0" err="1">
                  <a:solidFill>
                    <a:schemeClr val="bg1">
                      <a:lumMod val="50000"/>
                    </a:schemeClr>
                  </a:solidFill>
                  <a:latin typeface="Aptos"/>
                  <a:cs typeface="Arial" panose="020B0604020202020204" pitchFamily="34" charset="0"/>
                  <a:sym typeface="Arial"/>
                </a:rPr>
                <a:t>Stay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ptos"/>
                  <a:cs typeface="Arial" panose="020B0604020202020204" pitchFamily="34" charset="0"/>
                  <a:sym typeface="Arial"/>
                </a:rPr>
                <a:t> </a:t>
              </a:r>
              <a:r>
                <a:rPr lang="pl-PL" sz="1600" kern="0" dirty="0" err="1">
                  <a:solidFill>
                    <a:schemeClr val="bg1">
                      <a:lumMod val="50000"/>
                    </a:schemeClr>
                  </a:solidFill>
                  <a:latin typeface="Aptos"/>
                  <a:cs typeface="Arial" panose="020B0604020202020204" pitchFamily="34" charset="0"/>
                  <a:sym typeface="Arial"/>
                </a:rPr>
                <a:t>there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ptos"/>
                  <a:cs typeface="Arial" panose="020B0604020202020204" pitchFamily="34" charset="0"/>
                  <a:sym typeface="Arial"/>
                </a:rPr>
                <a:t> </a:t>
              </a:r>
              <a:r>
                <a:rPr lang="pl-PL" sz="1600" kern="0" dirty="0" err="1">
                  <a:solidFill>
                    <a:schemeClr val="bg1">
                      <a:lumMod val="50000"/>
                    </a:schemeClr>
                  </a:solidFill>
                  <a:latin typeface="Aptos"/>
                  <a:cs typeface="Arial" panose="020B0604020202020204" pitchFamily="34" charset="0"/>
                  <a:sym typeface="Arial"/>
                </a:rPr>
                <a:t>till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ptos"/>
                  <a:cs typeface="Arial" panose="020B0604020202020204" pitchFamily="34" charset="0"/>
                  <a:sym typeface="Arial"/>
                </a:rPr>
                <a:t> the alarm </a:t>
              </a:r>
              <a:r>
                <a:rPr lang="pl-PL" sz="1600" kern="0" dirty="0" err="1">
                  <a:solidFill>
                    <a:schemeClr val="bg1">
                      <a:lumMod val="50000"/>
                    </a:schemeClr>
                  </a:solidFill>
                  <a:latin typeface="Aptos"/>
                  <a:cs typeface="Arial" panose="020B0604020202020204" pitchFamily="34" charset="0"/>
                  <a:sym typeface="Arial"/>
                </a:rPr>
                <a:t>is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ptos"/>
                  <a:cs typeface="Arial" panose="020B0604020202020204" pitchFamily="34" charset="0"/>
                  <a:sym typeface="Arial"/>
                </a:rPr>
                <a:t> </a:t>
              </a:r>
              <a:r>
                <a:rPr lang="pl-PL" sz="1600" kern="0" dirty="0" err="1">
                  <a:solidFill>
                    <a:schemeClr val="bg1">
                      <a:lumMod val="50000"/>
                    </a:schemeClr>
                  </a:solidFill>
                  <a:latin typeface="Aptos"/>
                  <a:cs typeface="Arial" panose="020B0604020202020204" pitchFamily="34" charset="0"/>
                  <a:sym typeface="Arial"/>
                </a:rPr>
                <a:t>called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ptos"/>
                  <a:cs typeface="Arial" panose="020B0604020202020204" pitchFamily="34" charset="0"/>
                  <a:sym typeface="Arial"/>
                </a:rPr>
                <a:t> off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36443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266E9586-98FE-B743-0417-31168F6CCF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58503" y="-486888"/>
            <a:ext cx="10233497" cy="67928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Tytuł 37"/>
          <p:cNvSpPr>
            <a:spLocks noGrp="1"/>
          </p:cNvSpPr>
          <p:nvPr>
            <p:ph type="title"/>
          </p:nvPr>
        </p:nvSpPr>
        <p:spPr>
          <a:xfrm>
            <a:off x="266700" y="770297"/>
            <a:ext cx="4384813" cy="736964"/>
          </a:xfrm>
          <a:solidFill>
            <a:schemeClr val="bg1">
              <a:alpha val="66000"/>
            </a:schemeClr>
          </a:solidFill>
        </p:spPr>
        <p:txBody>
          <a:bodyPr/>
          <a:lstStyle/>
          <a:p>
            <a:pPr lvl="0"/>
            <a:r>
              <a:rPr lang="pl-PL" sz="2200" dirty="0">
                <a:latin typeface="Aptos"/>
                <a:cs typeface="Arial" panose="020B0604020202020204" pitchFamily="34" charset="0"/>
              </a:rPr>
              <a:t>Plan zagospodarowania budowy</a:t>
            </a:r>
            <a:br>
              <a:rPr lang="pl-PL" dirty="0">
                <a:latin typeface="Aptos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Site layout</a:t>
            </a:r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DA4FAA9D-0E2C-4467-329F-0129CF4695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55602" y="1463969"/>
            <a:ext cx="1100137" cy="1598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Łącznik prosty ze strzałką 5">
            <a:extLst>
              <a:ext uri="{FF2B5EF4-FFF2-40B4-BE49-F238E27FC236}">
                <a16:creationId xmlns:a16="http://schemas.microsoft.com/office/drawing/2014/main" id="{A38BBC92-00DF-A50F-8F88-FE35217FD8E6}"/>
              </a:ext>
            </a:extLst>
          </p:cNvPr>
          <p:cNvCxnSpPr>
            <a:cxnSpLocks/>
          </p:cNvCxnSpPr>
          <p:nvPr/>
        </p:nvCxnSpPr>
        <p:spPr>
          <a:xfrm>
            <a:off x="2572918" y="2773548"/>
            <a:ext cx="1399210" cy="1885496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Łącznik prosty ze strzałką 6">
            <a:extLst>
              <a:ext uri="{FF2B5EF4-FFF2-40B4-BE49-F238E27FC236}">
                <a16:creationId xmlns:a16="http://schemas.microsoft.com/office/drawing/2014/main" id="{D1B67A9B-4B1A-4002-71DC-3DA4E01BEF8E}"/>
              </a:ext>
            </a:extLst>
          </p:cNvPr>
          <p:cNvCxnSpPr>
            <a:cxnSpLocks/>
          </p:cNvCxnSpPr>
          <p:nvPr/>
        </p:nvCxnSpPr>
        <p:spPr>
          <a:xfrm flipH="1" flipV="1">
            <a:off x="4540263" y="4750130"/>
            <a:ext cx="988292" cy="63731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896E6091-6CA8-4182-0DF5-CF301353B0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9861" y="4760779"/>
            <a:ext cx="867566" cy="1231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Łącznik prosty ze strzałką 8">
            <a:extLst>
              <a:ext uri="{FF2B5EF4-FFF2-40B4-BE49-F238E27FC236}">
                <a16:creationId xmlns:a16="http://schemas.microsoft.com/office/drawing/2014/main" id="{C3020995-1BA8-8526-3147-D0C0646BEDBF}"/>
              </a:ext>
            </a:extLst>
          </p:cNvPr>
          <p:cNvCxnSpPr>
            <a:cxnSpLocks/>
          </p:cNvCxnSpPr>
          <p:nvPr/>
        </p:nvCxnSpPr>
        <p:spPr>
          <a:xfrm flipH="1" flipV="1">
            <a:off x="9125331" y="3207659"/>
            <a:ext cx="9237" cy="1533235"/>
          </a:xfrm>
          <a:prstGeom prst="straightConnector1">
            <a:avLst/>
          </a:prstGeom>
          <a:ln w="571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6">
            <a:extLst>
              <a:ext uri="{FF2B5EF4-FFF2-40B4-BE49-F238E27FC236}">
                <a16:creationId xmlns:a16="http://schemas.microsoft.com/office/drawing/2014/main" id="{82B71438-BAD1-4DDA-65D2-676EB7C1C3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440457" y="4036325"/>
            <a:ext cx="1033462" cy="1018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Łącznik prosty ze strzałką 10">
            <a:extLst>
              <a:ext uri="{FF2B5EF4-FFF2-40B4-BE49-F238E27FC236}">
                <a16:creationId xmlns:a16="http://schemas.microsoft.com/office/drawing/2014/main" id="{4980300F-8B3A-47C1-9B2E-C1E7B16A3924}"/>
              </a:ext>
            </a:extLst>
          </p:cNvPr>
          <p:cNvCxnSpPr>
            <a:cxnSpLocks/>
          </p:cNvCxnSpPr>
          <p:nvPr/>
        </p:nvCxnSpPr>
        <p:spPr>
          <a:xfrm flipH="1" flipV="1">
            <a:off x="9731099" y="3133767"/>
            <a:ext cx="774651" cy="90790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4">
            <a:extLst>
              <a:ext uri="{FF2B5EF4-FFF2-40B4-BE49-F238E27FC236}">
                <a16:creationId xmlns:a16="http://schemas.microsoft.com/office/drawing/2014/main" id="{82D7316C-7345-51EC-0639-B764C7EA04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299954" y="4181950"/>
            <a:ext cx="792018" cy="117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Łącznik prosty ze strzałką 13">
            <a:extLst>
              <a:ext uri="{FF2B5EF4-FFF2-40B4-BE49-F238E27FC236}">
                <a16:creationId xmlns:a16="http://schemas.microsoft.com/office/drawing/2014/main" id="{3E1EEE52-4FE7-91B9-D5B4-54289A472655}"/>
              </a:ext>
            </a:extLst>
          </p:cNvPr>
          <p:cNvCxnSpPr>
            <a:cxnSpLocks/>
          </p:cNvCxnSpPr>
          <p:nvPr/>
        </p:nvCxnSpPr>
        <p:spPr>
          <a:xfrm flipH="1" flipV="1">
            <a:off x="4679386" y="4646221"/>
            <a:ext cx="638176" cy="28575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Łącznik prosty ze strzałką 14">
            <a:extLst>
              <a:ext uri="{FF2B5EF4-FFF2-40B4-BE49-F238E27FC236}">
                <a16:creationId xmlns:a16="http://schemas.microsoft.com/office/drawing/2014/main" id="{D5A2FA13-0A6C-234E-E1A1-9A7112D755DE}"/>
              </a:ext>
            </a:extLst>
          </p:cNvPr>
          <p:cNvCxnSpPr>
            <a:cxnSpLocks/>
          </p:cNvCxnSpPr>
          <p:nvPr/>
        </p:nvCxnSpPr>
        <p:spPr>
          <a:xfrm flipH="1">
            <a:off x="9804990" y="3025429"/>
            <a:ext cx="1678118" cy="62156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4">
            <a:extLst>
              <a:ext uri="{FF2B5EF4-FFF2-40B4-BE49-F238E27FC236}">
                <a16:creationId xmlns:a16="http://schemas.microsoft.com/office/drawing/2014/main" id="{CC770A05-05A0-0081-5C76-4AD15604AA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1088893" y="2468182"/>
            <a:ext cx="811826" cy="12000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8" name="Łącznik prosty ze strzałką 17">
            <a:extLst>
              <a:ext uri="{FF2B5EF4-FFF2-40B4-BE49-F238E27FC236}">
                <a16:creationId xmlns:a16="http://schemas.microsoft.com/office/drawing/2014/main" id="{55DCDABA-3776-F43E-A541-C8CA53F7C457}"/>
              </a:ext>
            </a:extLst>
          </p:cNvPr>
          <p:cNvCxnSpPr>
            <a:cxnSpLocks/>
            <a:stCxn id="2" idx="1"/>
          </p:cNvCxnSpPr>
          <p:nvPr/>
        </p:nvCxnSpPr>
        <p:spPr>
          <a:xfrm flipH="1" flipV="1">
            <a:off x="4257895" y="5658586"/>
            <a:ext cx="1438068" cy="44796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6">
            <a:extLst>
              <a:ext uri="{FF2B5EF4-FFF2-40B4-BE49-F238E27FC236}">
                <a16:creationId xmlns:a16="http://schemas.microsoft.com/office/drawing/2014/main" id="{AD2A8BCD-5056-70D6-3BEC-9377D2F418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929169" y="1684064"/>
            <a:ext cx="590585" cy="582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6">
            <a:extLst>
              <a:ext uri="{FF2B5EF4-FFF2-40B4-BE49-F238E27FC236}">
                <a16:creationId xmlns:a16="http://schemas.microsoft.com/office/drawing/2014/main" id="{9189272F-B8CD-DB9D-62FB-7A82C56899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238977" y="2442751"/>
            <a:ext cx="369090" cy="363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6">
            <a:extLst>
              <a:ext uri="{FF2B5EF4-FFF2-40B4-BE49-F238E27FC236}">
                <a16:creationId xmlns:a16="http://schemas.microsoft.com/office/drawing/2014/main" id="{D83C05AF-18A9-3A05-1243-2DBD9C352E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545934" y="1869595"/>
            <a:ext cx="369090" cy="363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6">
            <a:extLst>
              <a:ext uri="{FF2B5EF4-FFF2-40B4-BE49-F238E27FC236}">
                <a16:creationId xmlns:a16="http://schemas.microsoft.com/office/drawing/2014/main" id="{22F4B81B-78C5-1E5C-AAF0-59ECDD90F9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652490" y="1942481"/>
            <a:ext cx="369090" cy="363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6">
            <a:extLst>
              <a:ext uri="{FF2B5EF4-FFF2-40B4-BE49-F238E27FC236}">
                <a16:creationId xmlns:a16="http://schemas.microsoft.com/office/drawing/2014/main" id="{8FD851F8-D9CB-2B1C-1FB9-1FCE94F007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948508" y="2194273"/>
            <a:ext cx="369090" cy="363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pole tekstowe 1">
            <a:extLst>
              <a:ext uri="{FF2B5EF4-FFF2-40B4-BE49-F238E27FC236}">
                <a16:creationId xmlns:a16="http://schemas.microsoft.com/office/drawing/2014/main" id="{1758F368-DAC9-6DCE-FB16-E24D0EC64554}"/>
              </a:ext>
            </a:extLst>
          </p:cNvPr>
          <p:cNvSpPr txBox="1"/>
          <p:nvPr/>
        </p:nvSpPr>
        <p:spPr>
          <a:xfrm>
            <a:off x="5695963" y="5891102"/>
            <a:ext cx="35733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2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Jesteś tutaj </a:t>
            </a:r>
            <a:r>
              <a:rPr lang="pl-PL" sz="22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You</a:t>
            </a:r>
            <a:r>
              <a:rPr lang="pl-PL" sz="22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are </a:t>
            </a:r>
            <a:r>
              <a:rPr lang="pl-PL" sz="22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here</a:t>
            </a:r>
            <a:endParaRPr lang="pl-PL" sz="22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3" name="Owal 12">
            <a:extLst>
              <a:ext uri="{FF2B5EF4-FFF2-40B4-BE49-F238E27FC236}">
                <a16:creationId xmlns:a16="http://schemas.microsoft.com/office/drawing/2014/main" id="{9238DE87-DDD4-BF5C-CED4-2EC574FB9A69}"/>
              </a:ext>
            </a:extLst>
          </p:cNvPr>
          <p:cNvSpPr/>
          <p:nvPr/>
        </p:nvSpPr>
        <p:spPr>
          <a:xfrm>
            <a:off x="3850410" y="5387441"/>
            <a:ext cx="407485" cy="419594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grpSp>
        <p:nvGrpSpPr>
          <p:cNvPr id="48" name="Grupa 47"/>
          <p:cNvGrpSpPr/>
          <p:nvPr/>
        </p:nvGrpSpPr>
        <p:grpSpPr>
          <a:xfrm>
            <a:off x="9126319" y="-468695"/>
            <a:ext cx="2962678" cy="2823871"/>
            <a:chOff x="3288445" y="4309278"/>
            <a:chExt cx="2182796" cy="2118866"/>
          </a:xfrm>
        </p:grpSpPr>
        <p:pic>
          <p:nvPicPr>
            <p:cNvPr id="46" name="Obraz 45" descr="Zasób 6.png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359136" y="4309278"/>
              <a:ext cx="2107475" cy="2118866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47" name="Symbol zastępczy zawartości 33">
              <a:extLst>
                <a:ext uri="{FF2B5EF4-FFF2-40B4-BE49-F238E27FC236}">
                  <a16:creationId xmlns:a16="http://schemas.microsoft.com/office/drawing/2014/main" id="{CBBCC2DC-2621-432D-996C-C130D183622C}"/>
                </a:ext>
              </a:extLst>
            </p:cNvPr>
            <p:cNvSpPr txBox="1">
              <a:spLocks/>
            </p:cNvSpPr>
            <p:nvPr/>
          </p:nvSpPr>
          <p:spPr>
            <a:xfrm>
              <a:off x="3288445" y="4311507"/>
              <a:ext cx="2182796" cy="1942762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/>
            <a:p>
              <a:pPr marL="227965" indent="-227965" algn="ctr" defTabSz="914377">
                <a:buClr>
                  <a:srgbClr val="535459"/>
                </a:buClr>
                <a:defRPr/>
              </a:pPr>
              <a:r>
                <a:rPr lang="pl-PL" sz="1400" b="1" dirty="0">
                  <a:solidFill>
                    <a:srgbClr val="FF0000"/>
                  </a:solidFill>
                  <a:latin typeface="Gotham Book" pitchFamily="50" charset="0"/>
                  <a:cs typeface="Gotham Book" pitchFamily="50" charset="0"/>
                </a:rPr>
                <a:t>PZT musi być czytelny</a:t>
              </a:r>
            </a:p>
            <a:p>
              <a:pPr marL="227965" marR="0" lvl="0" indent="-227965" algn="ctr" defTabSz="914377">
                <a:spcAft>
                  <a:spcPts val="0"/>
                </a:spcAft>
                <a:buSzTx/>
                <a:tabLst/>
                <a:defRPr/>
              </a:pPr>
              <a:r>
                <a:rPr kumimoji="0" lang="pl-PL" sz="14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Gotham Book" pitchFamily="50" charset="0"/>
                  <a:cs typeface="Gotham Book" pitchFamily="50" charset="0"/>
                </a:rPr>
                <a:t>Wstaw</a:t>
              </a:r>
              <a:r>
                <a:rPr lang="pl-PL" sz="1400">
                  <a:latin typeface="Gotham Book" pitchFamily="50" charset="0"/>
                  <a:cs typeface="Gotham Book" pitchFamily="50" charset="0"/>
                </a:rPr>
                <a:t> plan zagospodarowania</a:t>
              </a:r>
              <a:br>
                <a:rPr lang="pl-PL" sz="1400" dirty="0">
                  <a:latin typeface="Gotham Book" pitchFamily="50" charset="0"/>
                  <a:cs typeface="Gotham Book" pitchFamily="50" charset="0"/>
                </a:rPr>
              </a:b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Twojej budowy </a:t>
              </a:r>
              <a:br>
                <a:rPr lang="pl-PL" sz="1400" dirty="0">
                  <a:latin typeface="Gotham Book" pitchFamily="50" charset="0"/>
                  <a:cs typeface="Gotham Book" pitchFamily="50" charset="0"/>
                </a:rPr>
              </a:b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plik graficzny (</a:t>
              </a:r>
              <a:r>
                <a:rPr lang="pl-PL" sz="1400" u="sng" dirty="0">
                  <a:latin typeface="Gotham Book" pitchFamily="50" charset="0"/>
                  <a:cs typeface="Gotham Book" pitchFamily="50" charset="0"/>
                </a:rPr>
                <a:t>nie odręczny rysunek!) </a:t>
              </a: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zaznacz:</a:t>
              </a:r>
              <a:endParaRPr lang="pl-PL"/>
            </a:p>
            <a:p>
              <a:pPr marL="227965" marR="0" lvl="0" indent="-227965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tabLst/>
                <a:defRPr/>
              </a:pP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Użyj ikony z tej prezentacji.</a:t>
              </a:r>
            </a:p>
            <a:p>
              <a:pPr marL="285750" marR="0" lvl="0" indent="-285750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buFontTx/>
                <a:buChar char="-"/>
                <a:tabLst/>
                <a:defRPr/>
              </a:pP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Punkt zbiórki do ewakuacji</a:t>
              </a:r>
            </a:p>
            <a:p>
              <a:pPr marL="285750" marR="0" lvl="0" indent="-285750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buFontTx/>
                <a:buChar char="-"/>
                <a:tabLst/>
                <a:defRPr/>
              </a:pP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Apteczkę</a:t>
              </a:r>
            </a:p>
            <a:p>
              <a:pPr marL="285750" marR="0" lvl="0" indent="-285750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buFontTx/>
                <a:buChar char="-"/>
                <a:tabLst/>
                <a:defRPr/>
              </a:pP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- gaśnice</a:t>
              </a:r>
            </a:p>
            <a:p>
              <a:pPr marL="285750" marR="0" lvl="0" indent="-285750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buFontTx/>
                <a:buChar char="-"/>
                <a:tabLst/>
                <a:defRPr/>
              </a:pP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- miejsce gdzie jesteś,</a:t>
              </a:r>
            </a:p>
            <a:p>
              <a:pPr marL="285750" marR="0" lvl="0" indent="-285750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buFontTx/>
                <a:buChar char="-"/>
                <a:tabLst/>
                <a:defRPr/>
              </a:pP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Piktogramy zagrożeń  </a:t>
              </a:r>
              <a:endPara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cs typeface="Gotham Book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85244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3" descr="Zasób 6.png">
            <a:extLst>
              <a:ext uri="{FF2B5EF4-FFF2-40B4-BE49-F238E27FC236}">
                <a16:creationId xmlns:a16="http://schemas.microsoft.com/office/drawing/2014/main" id="{66C1EDD8-02BD-7CD9-275B-90CE1FEF97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81493" y="261707"/>
            <a:ext cx="2107475" cy="211886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5" name="Symbol zastępczy zawartości 33">
            <a:extLst>
              <a:ext uri="{FF2B5EF4-FFF2-40B4-BE49-F238E27FC236}">
                <a16:creationId xmlns:a16="http://schemas.microsoft.com/office/drawing/2014/main" id="{A1889AE4-2673-2CD1-A322-CE4DDCAAECC0}"/>
              </a:ext>
            </a:extLst>
          </p:cNvPr>
          <p:cNvSpPr txBox="1">
            <a:spLocks/>
          </p:cNvSpPr>
          <p:nvPr/>
        </p:nvSpPr>
        <p:spPr>
          <a:xfrm>
            <a:off x="9645776" y="752836"/>
            <a:ext cx="2404762" cy="12770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R="0" lvl="0" algn="ctr" defTabSz="914377" rtl="0" eaLnBrk="1" fontAlgn="auto" latinLnBrk="0" hangingPunct="1">
              <a:spcBef>
                <a:spcPts val="1000"/>
              </a:spcBef>
              <a:spcAft>
                <a:spcPts val="0"/>
              </a:spcAft>
              <a:buClr>
                <a:srgbClr val="535459"/>
              </a:buClr>
              <a:buSzTx/>
              <a:tabLst/>
              <a:defRPr/>
            </a:pP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Znaki ostrzegawcze i informacyjne</a:t>
            </a:r>
          </a:p>
        </p:txBody>
      </p:sp>
      <p:sp>
        <p:nvSpPr>
          <p:cNvPr id="6" name="Tytuł 37">
            <a:extLst>
              <a:ext uri="{FF2B5EF4-FFF2-40B4-BE49-F238E27FC236}">
                <a16:creationId xmlns:a16="http://schemas.microsoft.com/office/drawing/2014/main" id="{8E57D581-DB36-9C8D-25E7-59C48FA05E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700" y="770297"/>
            <a:ext cx="7856574" cy="736964"/>
          </a:xfrm>
          <a:solidFill>
            <a:schemeClr val="bg1">
              <a:alpha val="66000"/>
            </a:schemeClr>
          </a:solidFill>
        </p:spPr>
        <p:txBody>
          <a:bodyPr/>
          <a:lstStyle/>
          <a:p>
            <a:pPr lvl="0"/>
            <a:r>
              <a:rPr lang="pl-PL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ajd ukryty – piktogramy/znaki do użycia w Planie Zagospodarowania (do slajdu 7.)</a:t>
            </a:r>
          </a:p>
        </p:txBody>
      </p:sp>
      <p:pic>
        <p:nvPicPr>
          <p:cNvPr id="1026" name="Picture 2" descr="Uwaga głębokie wykopy - Tablica budowlana">
            <a:extLst>
              <a:ext uri="{FF2B5EF4-FFF2-40B4-BE49-F238E27FC236}">
                <a16:creationId xmlns:a16="http://schemas.microsoft.com/office/drawing/2014/main" id="{729F7E83-7220-8A33-A149-0BE8A61612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130" y="1723237"/>
            <a:ext cx="642559" cy="46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45E116AA-91A6-1FC3-BABC-A4C9B7210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719" y="1723238"/>
            <a:ext cx="642559" cy="46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C361D57E-B903-2BB5-F6E5-F68D92025E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0648" y="1709518"/>
            <a:ext cx="661411" cy="481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2D805710-949A-A5E9-7790-BF5868F124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1761" y="1723238"/>
            <a:ext cx="642559" cy="46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5EF1FCE1-8941-D9C9-A931-E2BD9BFC76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4022" y="1723238"/>
            <a:ext cx="642559" cy="46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nak &quot;Apteczka pierwszej pomocy&quot;">
            <a:extLst>
              <a:ext uri="{FF2B5EF4-FFF2-40B4-BE49-F238E27FC236}">
                <a16:creationId xmlns:a16="http://schemas.microsoft.com/office/drawing/2014/main" id="{1CB4BF7D-C19C-C347-07E9-9EB710D93B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865" y="4262102"/>
            <a:ext cx="380099" cy="56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Znak &quot;Defibrylator (AED)&quot;">
            <a:extLst>
              <a:ext uri="{FF2B5EF4-FFF2-40B4-BE49-F238E27FC236}">
                <a16:creationId xmlns:a16="http://schemas.microsoft.com/office/drawing/2014/main" id="{D2F6C113-4F55-6B52-9705-B857F83F15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424" y="4262102"/>
            <a:ext cx="398279" cy="56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>
            <a:extLst>
              <a:ext uri="{FF2B5EF4-FFF2-40B4-BE49-F238E27FC236}">
                <a16:creationId xmlns:a16="http://schemas.microsoft.com/office/drawing/2014/main" id="{4157B1EE-DCE9-FE00-E880-8E73470D1D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866" y="5322621"/>
            <a:ext cx="888412" cy="295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>
            <a:extLst>
              <a:ext uri="{FF2B5EF4-FFF2-40B4-BE49-F238E27FC236}">
                <a16:creationId xmlns:a16="http://schemas.microsoft.com/office/drawing/2014/main" id="{06FA4499-4223-7932-B79B-0D404C6D82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866" y="5755037"/>
            <a:ext cx="888412" cy="295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Znak &quot;Gaśnica&quot; nieświecący">
            <a:extLst>
              <a:ext uri="{FF2B5EF4-FFF2-40B4-BE49-F238E27FC236}">
                <a16:creationId xmlns:a16="http://schemas.microsoft.com/office/drawing/2014/main" id="{8B8B4BF6-8E57-7386-1278-499A968551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3327" y="4262102"/>
            <a:ext cx="560993" cy="56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 descr="Foto">
            <a:extLst>
              <a:ext uri="{FF2B5EF4-FFF2-40B4-BE49-F238E27FC236}">
                <a16:creationId xmlns:a16="http://schemas.microsoft.com/office/drawing/2014/main" id="{8C804391-F456-A0FB-D486-97BB5650C0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6283" y="1723237"/>
            <a:ext cx="653015" cy="46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5EC40D2F-CE42-F793-9477-F80BEC0FBA0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221976" y="5322620"/>
            <a:ext cx="655867" cy="241989"/>
          </a:xfrm>
          <a:prstGeom prst="rect">
            <a:avLst/>
          </a:prstGeom>
        </p:spPr>
      </p:pic>
      <p:pic>
        <p:nvPicPr>
          <p:cNvPr id="1048" name="Picture 24" descr="Foto">
            <a:extLst>
              <a:ext uri="{FF2B5EF4-FFF2-40B4-BE49-F238E27FC236}">
                <a16:creationId xmlns:a16="http://schemas.microsoft.com/office/drawing/2014/main" id="{C1F0E45E-CDFF-E0D6-A788-23A080E44F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163" y="4262102"/>
            <a:ext cx="420745" cy="56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0" name="Picture 26">
            <a:extLst>
              <a:ext uri="{FF2B5EF4-FFF2-40B4-BE49-F238E27FC236}">
                <a16:creationId xmlns:a16="http://schemas.microsoft.com/office/drawing/2014/main" id="{6B7687CB-4CCA-60C0-D747-626115F4AC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6122" y="4262102"/>
            <a:ext cx="380099" cy="562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2" name="Picture 28">
            <a:extLst>
              <a:ext uri="{FF2B5EF4-FFF2-40B4-BE49-F238E27FC236}">
                <a16:creationId xmlns:a16="http://schemas.microsoft.com/office/drawing/2014/main" id="{4090B886-0AE5-FB26-E152-1A9E18560C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443" y="4262101"/>
            <a:ext cx="398279" cy="562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4" name="Picture 30">
            <a:extLst>
              <a:ext uri="{FF2B5EF4-FFF2-40B4-BE49-F238E27FC236}">
                <a16:creationId xmlns:a16="http://schemas.microsoft.com/office/drawing/2014/main" id="{134249AA-6E90-B531-19FD-4A63931E45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0379" y="1723237"/>
            <a:ext cx="642559" cy="46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6" name="Picture 32" descr="Megafon">
            <a:extLst>
              <a:ext uri="{FF2B5EF4-FFF2-40B4-BE49-F238E27FC236}">
                <a16:creationId xmlns:a16="http://schemas.microsoft.com/office/drawing/2014/main" id="{A518049C-8723-CFD6-26BD-FC12990429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293" y="5684473"/>
            <a:ext cx="403230" cy="403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Obraz 8">
            <a:extLst>
              <a:ext uri="{FF2B5EF4-FFF2-40B4-BE49-F238E27FC236}">
                <a16:creationId xmlns:a16="http://schemas.microsoft.com/office/drawing/2014/main" id="{CF8F814E-DA65-B115-3320-853A1002667F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278521" y="2539763"/>
            <a:ext cx="531869" cy="467626"/>
          </a:xfrm>
          <a:prstGeom prst="rect">
            <a:avLst/>
          </a:prstGeom>
        </p:spPr>
      </p:pic>
      <p:pic>
        <p:nvPicPr>
          <p:cNvPr id="10" name="Obraz 9">
            <a:extLst>
              <a:ext uri="{FF2B5EF4-FFF2-40B4-BE49-F238E27FC236}">
                <a16:creationId xmlns:a16="http://schemas.microsoft.com/office/drawing/2014/main" id="{ABE400FE-1F21-F3BE-4723-B4267AC359AF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33972" y="2539763"/>
            <a:ext cx="531869" cy="468855"/>
          </a:xfrm>
          <a:prstGeom prst="rect">
            <a:avLst/>
          </a:prstGeom>
        </p:spPr>
      </p:pic>
      <p:pic>
        <p:nvPicPr>
          <p:cNvPr id="11" name="Obraz 10">
            <a:extLst>
              <a:ext uri="{FF2B5EF4-FFF2-40B4-BE49-F238E27FC236}">
                <a16:creationId xmlns:a16="http://schemas.microsoft.com/office/drawing/2014/main" id="{0B301BE3-40A8-D58B-D8EA-0E0391A609FA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564539" y="2539763"/>
            <a:ext cx="540949" cy="467625"/>
          </a:xfrm>
          <a:prstGeom prst="rect">
            <a:avLst/>
          </a:prstGeom>
        </p:spPr>
      </p:pic>
      <p:pic>
        <p:nvPicPr>
          <p:cNvPr id="12" name="Obraz 11">
            <a:extLst>
              <a:ext uri="{FF2B5EF4-FFF2-40B4-BE49-F238E27FC236}">
                <a16:creationId xmlns:a16="http://schemas.microsoft.com/office/drawing/2014/main" id="{4F5D96EE-FAE7-0A18-8560-B71AACFA284B}"/>
              </a:ext>
            </a:extLst>
          </p:cNvPr>
          <p:cNvPicPr>
            <a:picLocks noChangeAspect="1"/>
          </p:cNvPicPr>
          <p:nvPr/>
        </p:nvPicPr>
        <p:blipFill rotWithShape="1">
          <a:blip r:embed="rId23"/>
          <a:srcRect l="1423"/>
          <a:stretch/>
        </p:blipFill>
        <p:spPr>
          <a:xfrm>
            <a:off x="2200089" y="2539763"/>
            <a:ext cx="531869" cy="511149"/>
          </a:xfrm>
          <a:prstGeom prst="rect">
            <a:avLst/>
          </a:prstGeom>
        </p:spPr>
      </p:pic>
      <p:pic>
        <p:nvPicPr>
          <p:cNvPr id="13" name="Obraz 12">
            <a:extLst>
              <a:ext uri="{FF2B5EF4-FFF2-40B4-BE49-F238E27FC236}">
                <a16:creationId xmlns:a16="http://schemas.microsoft.com/office/drawing/2014/main" id="{05BAF9EF-F558-A19E-32EC-B43485659C52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782340" y="2539763"/>
            <a:ext cx="531869" cy="468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421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ole tekstowe 8">
            <a:extLst>
              <a:ext uri="{FF2B5EF4-FFF2-40B4-BE49-F238E27FC236}">
                <a16:creationId xmlns:a16="http://schemas.microsoft.com/office/drawing/2014/main" id="{BE3E355F-30ED-F0BF-41AD-A3468DABF37C}"/>
              </a:ext>
            </a:extLst>
          </p:cNvPr>
          <p:cNvSpPr txBox="1"/>
          <p:nvPr/>
        </p:nvSpPr>
        <p:spPr>
          <a:xfrm>
            <a:off x="948854" y="2751892"/>
            <a:ext cx="2859632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000" b="1" dirty="0">
                <a:latin typeface="Aptos"/>
                <a:cs typeface="Arial" panose="020B0604020202020204" pitchFamily="34" charset="0"/>
              </a:rPr>
              <a:t>NASZ CEL ROCZNY:</a:t>
            </a:r>
          </a:p>
          <a:p>
            <a:r>
              <a:rPr lang="pl-PL" dirty="0" err="1">
                <a:solidFill>
                  <a:schemeClr val="bg1">
                    <a:lumMod val="50000"/>
                  </a:schemeClr>
                </a:solidFill>
                <a:latin typeface="Aptos"/>
                <a:ea typeface="+mj-ea"/>
                <a:cs typeface="Arial" panose="020B0604020202020204" pitchFamily="34" charset="0"/>
              </a:rPr>
              <a:t>Our</a:t>
            </a: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ptos"/>
                <a:ea typeface="+mj-ea"/>
                <a:cs typeface="Arial" panose="020B0604020202020204" pitchFamily="34" charset="0"/>
              </a:rPr>
              <a:t> </a:t>
            </a:r>
            <a:r>
              <a:rPr lang="pl-PL" dirty="0" err="1">
                <a:solidFill>
                  <a:schemeClr val="bg1">
                    <a:lumMod val="50000"/>
                  </a:schemeClr>
                </a:solidFill>
                <a:latin typeface="Aptos"/>
                <a:ea typeface="+mj-ea"/>
                <a:cs typeface="Arial" panose="020B0604020202020204" pitchFamily="34" charset="0"/>
              </a:rPr>
              <a:t>annual</a:t>
            </a: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ptos"/>
                <a:ea typeface="+mj-ea"/>
                <a:cs typeface="Arial" panose="020B0604020202020204" pitchFamily="34" charset="0"/>
              </a:rPr>
              <a:t> </a:t>
            </a:r>
            <a:r>
              <a:rPr lang="pl-PL" dirty="0" err="1">
                <a:solidFill>
                  <a:schemeClr val="bg1">
                    <a:lumMod val="50000"/>
                  </a:schemeClr>
                </a:solidFill>
                <a:latin typeface="Aptos"/>
                <a:ea typeface="+mj-ea"/>
                <a:cs typeface="Arial" panose="020B0604020202020204" pitchFamily="34" charset="0"/>
              </a:rPr>
              <a:t>goal</a:t>
            </a:r>
            <a:endParaRPr lang="pl-PL" dirty="0">
              <a:solidFill>
                <a:schemeClr val="bg1">
                  <a:lumMod val="50000"/>
                </a:schemeClr>
              </a:solidFill>
              <a:latin typeface="Aptos"/>
              <a:ea typeface="+mj-ea"/>
              <a:cs typeface="Arial" panose="020B0604020202020204" pitchFamily="34" charset="0"/>
            </a:endParaRPr>
          </a:p>
        </p:txBody>
      </p:sp>
      <p:sp>
        <p:nvSpPr>
          <p:cNvPr id="3" name="Tytuł 2">
            <a:extLst>
              <a:ext uri="{FF2B5EF4-FFF2-40B4-BE49-F238E27FC236}">
                <a16:creationId xmlns:a16="http://schemas.microsoft.com/office/drawing/2014/main" id="{94405392-7B2E-EF89-671C-FE453D0FAB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700" y="781183"/>
            <a:ext cx="11658599" cy="736964"/>
          </a:xfrm>
        </p:spPr>
        <p:txBody>
          <a:bodyPr>
            <a:normAutofit fontScale="90000"/>
          </a:bodyPr>
          <a:lstStyle/>
          <a:p>
            <a:r>
              <a:rPr lang="pl-PL" sz="2400" dirty="0">
                <a:latin typeface="Aptos"/>
                <a:cs typeface="Arial" panose="020B0604020202020204" pitchFamily="34" charset="0"/>
              </a:rPr>
              <a:t>Dbamy o środowisko</a:t>
            </a:r>
            <a:br>
              <a:rPr lang="pl-PL" sz="2400" dirty="0">
                <a:latin typeface="Aptos"/>
                <a:cs typeface="Arial" panose="020B0604020202020204" pitchFamily="34" charset="0"/>
              </a:rPr>
            </a:br>
            <a:r>
              <a:rPr lang="pl-PL" sz="2200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We </a:t>
            </a:r>
            <a:r>
              <a:rPr lang="pl-PL" sz="2200" dirty="0" err="1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care</a:t>
            </a:r>
            <a:r>
              <a:rPr lang="pl-PL" sz="2200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 </a:t>
            </a:r>
            <a:r>
              <a:rPr lang="pl-PL" sz="2200" dirty="0" err="1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about</a:t>
            </a:r>
            <a:r>
              <a:rPr lang="pl-PL" sz="2200" dirty="0">
                <a:solidFill>
                  <a:schemeClr val="bg1">
                    <a:lumMod val="50000"/>
                  </a:schemeClr>
                </a:solidFill>
                <a:latin typeface="Aptos"/>
                <a:cs typeface="Arial" panose="020B0604020202020204" pitchFamily="34" charset="0"/>
              </a:rPr>
              <a:t> the environment</a:t>
            </a:r>
          </a:p>
        </p:txBody>
      </p:sp>
      <p:sp>
        <p:nvSpPr>
          <p:cNvPr id="5" name="pole tekstowe 4">
            <a:extLst>
              <a:ext uri="{FF2B5EF4-FFF2-40B4-BE49-F238E27FC236}">
                <a16:creationId xmlns:a16="http://schemas.microsoft.com/office/drawing/2014/main" id="{928F6A3C-69E5-AA52-E223-E506E79B2BD8}"/>
              </a:ext>
            </a:extLst>
          </p:cNvPr>
          <p:cNvSpPr txBox="1"/>
          <p:nvPr/>
        </p:nvSpPr>
        <p:spPr>
          <a:xfrm>
            <a:off x="4099844" y="2734904"/>
            <a:ext cx="32112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800" dirty="0">
                <a:latin typeface="Aptos"/>
                <a:cs typeface="Arial" panose="020B0604020202020204" pitchFamily="34" charset="0"/>
              </a:rPr>
              <a:t>Segregacja odpadów na budowie na poziomie</a:t>
            </a:r>
          </a:p>
          <a:p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ptos"/>
                <a:ea typeface="+mj-ea"/>
                <a:cs typeface="Arial" panose="020B0604020202020204" pitchFamily="34" charset="0"/>
              </a:rPr>
              <a:t>Construction </a:t>
            </a:r>
            <a:r>
              <a:rPr lang="pl-PL" dirty="0" err="1">
                <a:solidFill>
                  <a:schemeClr val="bg1">
                    <a:lumMod val="50000"/>
                  </a:schemeClr>
                </a:solidFill>
                <a:latin typeface="Aptos"/>
                <a:ea typeface="+mj-ea"/>
                <a:cs typeface="Arial" panose="020B0604020202020204" pitchFamily="34" charset="0"/>
              </a:rPr>
              <a:t>site</a:t>
            </a: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ptos"/>
                <a:ea typeface="+mj-ea"/>
                <a:cs typeface="Arial" panose="020B0604020202020204" pitchFamily="34" charset="0"/>
              </a:rPr>
              <a:t> with waste </a:t>
            </a:r>
            <a:r>
              <a:rPr lang="pl-PL" dirty="0" err="1">
                <a:solidFill>
                  <a:schemeClr val="bg1">
                    <a:lumMod val="50000"/>
                  </a:schemeClr>
                </a:solidFill>
                <a:latin typeface="Aptos"/>
                <a:ea typeface="+mj-ea"/>
                <a:cs typeface="Arial" panose="020B0604020202020204" pitchFamily="34" charset="0"/>
              </a:rPr>
              <a:t>segregation</a:t>
            </a: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ptos"/>
                <a:ea typeface="+mj-ea"/>
                <a:cs typeface="Arial" panose="020B0604020202020204" pitchFamily="34" charset="0"/>
              </a:rPr>
              <a:t> </a:t>
            </a:r>
            <a:r>
              <a:rPr lang="pl-PL" dirty="0" err="1">
                <a:solidFill>
                  <a:schemeClr val="bg1">
                    <a:lumMod val="50000"/>
                  </a:schemeClr>
                </a:solidFill>
                <a:latin typeface="Aptos"/>
                <a:ea typeface="+mj-ea"/>
                <a:cs typeface="Arial" panose="020B0604020202020204" pitchFamily="34" charset="0"/>
              </a:rPr>
              <a:t>at</a:t>
            </a: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ptos"/>
                <a:ea typeface="+mj-ea"/>
                <a:cs typeface="Arial" panose="020B0604020202020204" pitchFamily="34" charset="0"/>
              </a:rPr>
              <a:t> the </a:t>
            </a:r>
            <a:r>
              <a:rPr lang="pl-PL" dirty="0" err="1">
                <a:solidFill>
                  <a:schemeClr val="bg1">
                    <a:lumMod val="50000"/>
                  </a:schemeClr>
                </a:solidFill>
                <a:latin typeface="Aptos"/>
                <a:ea typeface="+mj-ea"/>
                <a:cs typeface="Arial" panose="020B0604020202020204" pitchFamily="34" charset="0"/>
              </a:rPr>
              <a:t>level</a:t>
            </a:r>
            <a:endParaRPr lang="pl-PL" dirty="0">
              <a:solidFill>
                <a:schemeClr val="bg1">
                  <a:lumMod val="50000"/>
                </a:schemeClr>
              </a:solidFill>
              <a:latin typeface="Aptos"/>
              <a:ea typeface="+mj-ea"/>
              <a:cs typeface="Arial" panose="020B0604020202020204" pitchFamily="34" charset="0"/>
            </a:endParaRPr>
          </a:p>
        </p:txBody>
      </p:sp>
      <p:pic>
        <p:nvPicPr>
          <p:cNvPr id="7" name="Grafika 6" descr="Otwarta dłoń z rośliną z wypełnieniem pełnym">
            <a:extLst>
              <a:ext uri="{FF2B5EF4-FFF2-40B4-BE49-F238E27FC236}">
                <a16:creationId xmlns:a16="http://schemas.microsoft.com/office/drawing/2014/main" id="{F1B4E55A-DEA6-18A8-6ECB-72AE0AB789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576456" y="2751892"/>
            <a:ext cx="3096369" cy="3096369"/>
          </a:xfrm>
          <a:prstGeom prst="rect">
            <a:avLst/>
          </a:prstGeom>
        </p:spPr>
      </p:pic>
      <p:sp>
        <p:nvSpPr>
          <p:cNvPr id="14" name="pole tekstowe 13">
            <a:extLst>
              <a:ext uri="{FF2B5EF4-FFF2-40B4-BE49-F238E27FC236}">
                <a16:creationId xmlns:a16="http://schemas.microsoft.com/office/drawing/2014/main" id="{F2770A5E-0AC2-9FD0-0985-D33B23F5A94B}"/>
              </a:ext>
            </a:extLst>
          </p:cNvPr>
          <p:cNvSpPr txBox="1"/>
          <p:nvPr/>
        </p:nvSpPr>
        <p:spPr>
          <a:xfrm>
            <a:off x="8212377" y="2690336"/>
            <a:ext cx="1828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4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4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0%</a:t>
            </a:r>
            <a:endParaRPr lang="pl-PL" sz="4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67948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RU8yzF_2qngvexv7g_3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chWBJHTKKG6UJbTSYye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zl9hXOxXJE8GfqoCZ8k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v.mFPBTlOPGtECrhYvu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zl9hXOxXJE8GfqoCZ8k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3_Motyw pakietu Office">
  <a:themeElements>
    <a:clrScheme name="Ech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Motyw pakietu Office">
  <a:themeElements>
    <a:clrScheme name="Ech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_Firm Format - template_Blue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F0F0F8"/>
      </a:accent1>
      <a:accent2>
        <a:srgbClr val="28B3DD"/>
      </a:accent2>
      <a:accent3>
        <a:srgbClr val="CFD7E6"/>
      </a:accent3>
      <a:accent4>
        <a:srgbClr val="0C57A2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3E13674-A1AE-4CD7-A766-C89FB4327D25}" vid="{EFCF8206-EE22-4ED1-8604-A72CD5CE5B04}"/>
    </a:ext>
  </a:extLst>
</a:theme>
</file>

<file path=ppt/theme/theme4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a542d5f-b2a9-429b-b47b-8343782dcc81">
      <Terms xmlns="http://schemas.microsoft.com/office/infopath/2007/PartnerControls"/>
    </lcf76f155ced4ddcb4097134ff3c332f>
    <TaxCatchAll xmlns="275e66ad-cb0c-462a-b893-e50e4346a574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AFCF6A7FF11B740A7917674ED2C216C" ma:contentTypeVersion="15" ma:contentTypeDescription="Utwórz nowy dokument." ma:contentTypeScope="" ma:versionID="8e0f8fa13b354d0c177432701164c32a">
  <xsd:schema xmlns:xsd="http://www.w3.org/2001/XMLSchema" xmlns:xs="http://www.w3.org/2001/XMLSchema" xmlns:p="http://schemas.microsoft.com/office/2006/metadata/properties" xmlns:ns2="275e66ad-cb0c-462a-b893-e50e4346a574" xmlns:ns3="da542d5f-b2a9-429b-b47b-8343782dcc81" targetNamespace="http://schemas.microsoft.com/office/2006/metadata/properties" ma:root="true" ma:fieldsID="4ceaaaf50a783864c4530575be93a6c9" ns2:_="" ns3:_="">
    <xsd:import namespace="275e66ad-cb0c-462a-b893-e50e4346a574"/>
    <xsd:import namespace="da542d5f-b2a9-429b-b47b-8343782dcc8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lcf76f155ced4ddcb4097134ff3c332f" minOccurs="0"/>
                <xsd:element ref="ns2:TaxCatchAll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LengthInSecond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5e66ad-cb0c-462a-b893-e50e4346a57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Udostępniani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Udostępnione dla — szczegóły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9cb7e916-a9eb-45cc-9000-596a7948dcba}" ma:internalName="TaxCatchAll" ma:showField="CatchAllData" ma:web="275e66ad-cb0c-462a-b893-e50e4346a57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542d5f-b2a9-429b-b47b-8343782dcc8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Tagi obrazów" ma:readOnly="false" ma:fieldId="{5cf76f15-5ced-4ddc-b409-7134ff3c332f}" ma:taxonomyMulti="true" ma:sspId="659e6cfe-8a72-4a82-9449-87dbf8acb4b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zawartości"/>
        <xsd:element ref="dc:title" minOccurs="0" maxOccurs="1" ma:index="4" ma:displayName="Tytuł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FACB404-B471-48B1-A398-1FC56F7DF00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9FCED9F-004B-413A-AA08-05611E9AE70D}">
  <ds:schemaRefs>
    <ds:schemaRef ds:uri="http://www.w3.org/XML/1998/namespace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da542d5f-b2a9-429b-b47b-8343782dcc81"/>
    <ds:schemaRef ds:uri="275e66ad-cb0c-462a-b893-e50e4346a574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2E2FD32A-3DEA-466C-AFD8-8068459A10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75e66ad-cb0c-462a-b893-e50e4346a574"/>
    <ds:schemaRef ds:uri="da542d5f-b2a9-429b-b47b-8343782dcc8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30</TotalTime>
  <Words>1426</Words>
  <Application>Microsoft Office PowerPoint</Application>
  <PresentationFormat>Panoramiczny</PresentationFormat>
  <Paragraphs>214</Paragraphs>
  <Slides>22</Slides>
  <Notes>19</Notes>
  <HiddenSlides>2</HiddenSlides>
  <MMClips>0</MMClips>
  <ScaleCrop>false</ScaleCrop>
  <HeadingPairs>
    <vt:vector size="8" baseType="variant">
      <vt:variant>
        <vt:lpstr>Używane czcionki</vt:lpstr>
      </vt:variant>
      <vt:variant>
        <vt:i4>10</vt:i4>
      </vt:variant>
      <vt:variant>
        <vt:lpstr>Motyw</vt:lpstr>
      </vt:variant>
      <vt:variant>
        <vt:i4>3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22</vt:i4>
      </vt:variant>
    </vt:vector>
  </HeadingPairs>
  <TitlesOfParts>
    <vt:vector size="36" baseType="lpstr">
      <vt:lpstr>Aptos</vt:lpstr>
      <vt:lpstr>Arial</vt:lpstr>
      <vt:lpstr>Arial Nova Cond</vt:lpstr>
      <vt:lpstr>Calibri</vt:lpstr>
      <vt:lpstr>Calibri Light</vt:lpstr>
      <vt:lpstr>Gotham Book</vt:lpstr>
      <vt:lpstr>Gotham Light</vt:lpstr>
      <vt:lpstr>Skanska Sans Pro</vt:lpstr>
      <vt:lpstr>Tahoma</vt:lpstr>
      <vt:lpstr>Wingdings</vt:lpstr>
      <vt:lpstr>3_Motyw pakietu Office</vt:lpstr>
      <vt:lpstr>2_Motyw pakietu Office</vt:lpstr>
      <vt:lpstr>6_Firm Format - template_Blue</vt:lpstr>
      <vt:lpstr>think-cell Slide</vt:lpstr>
      <vt:lpstr>Prezentacja programu PowerPoint</vt:lpstr>
      <vt:lpstr>Prezentacja programu PowerPoint</vt:lpstr>
      <vt:lpstr>Informacje o projekcie  wpisz nazwę Twojego projektu About the project</vt:lpstr>
      <vt:lpstr>Nasze wartości | Our values</vt:lpstr>
      <vt:lpstr>Zespół projektowy Project team</vt:lpstr>
      <vt:lpstr>Ewakuacja Evacuation</vt:lpstr>
      <vt:lpstr>Plan zagospodarowania budowy Site layout</vt:lpstr>
      <vt:lpstr>Slajd ukryty – piktogramy/znaki do użycia w Planie Zagospodarowania (do slajdu 7.)</vt:lpstr>
      <vt:lpstr>Dbamy o środowisko We care about the environment</vt:lpstr>
      <vt:lpstr>Zagrożenie praca na wysokości Hazard working at height</vt:lpstr>
      <vt:lpstr>Zagrożenie transport pionowy Hazard vertical transport</vt:lpstr>
      <vt:lpstr>Zagrożenie ruch kołowy Hazard wheel traffic</vt:lpstr>
      <vt:lpstr>Prezentacja programu PowerPoint</vt:lpstr>
      <vt:lpstr>Prezentacja programu PowerPoint</vt:lpstr>
      <vt:lpstr>Zagrożenie substancje niebezpieczne Hazardous substances</vt:lpstr>
      <vt:lpstr>Zgłoś jeżeli zauważyłeś Inform your guide if you observe</vt:lpstr>
      <vt:lpstr>Prezentacja programu PowerPoint</vt:lpstr>
      <vt:lpstr>Prezentacja programu PowerPoint</vt:lpstr>
      <vt:lpstr>Środki Ochrony Indywidualnej Personal protection equipment</vt:lpstr>
      <vt:lpstr>Podstawowe zasady dla gości Basic rules for visitors</vt:lpstr>
      <vt:lpstr>Podstawowe zasady dla gości Basic rules for visitors</vt:lpstr>
      <vt:lpstr>Prezentacja programu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Steve Iddon</dc:creator>
  <cp:lastModifiedBy>Łukasz Bartnicki</cp:lastModifiedBy>
  <cp:revision>169</cp:revision>
  <cp:lastPrinted>2023-11-27T09:47:17Z</cp:lastPrinted>
  <dcterms:created xsi:type="dcterms:W3CDTF">2017-06-07T11:54:22Z</dcterms:created>
  <dcterms:modified xsi:type="dcterms:W3CDTF">2025-02-03T13:33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AFCF6A7FF11B740A7917674ED2C216C</vt:lpwstr>
  </property>
  <property fmtid="{D5CDD505-2E9C-101B-9397-08002B2CF9AE}" pid="3" name="_dlc_DocIdItemGuid">
    <vt:lpwstr>fc97e099-7d2f-47b1-a40e-79cb889fda1f</vt:lpwstr>
  </property>
  <property fmtid="{D5CDD505-2E9C-101B-9397-08002B2CF9AE}" pid="4" name="MediaServiceImageTags">
    <vt:lpwstr/>
  </property>
</Properties>
</file>